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265" r:id="rId6"/>
    <p:sldId id="282" r:id="rId7"/>
    <p:sldId id="299" r:id="rId8"/>
    <p:sldId id="275" r:id="rId9"/>
    <p:sldId id="308" r:id="rId10"/>
    <p:sldId id="298" r:id="rId11"/>
    <p:sldId id="267" r:id="rId12"/>
    <p:sldId id="307" r:id="rId13"/>
    <p:sldId id="300" r:id="rId14"/>
    <p:sldId id="301" r:id="rId15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1642"/>
    <a:srgbClr val="1C1236"/>
    <a:srgbClr val="FFFFFF"/>
    <a:srgbClr val="251D19"/>
    <a:srgbClr val="000000"/>
    <a:srgbClr val="000001"/>
    <a:srgbClr val="FEFEFF"/>
    <a:srgbClr val="E6E6E6"/>
    <a:srgbClr val="FFFEFC"/>
    <a:srgbClr val="FFF8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7" autoAdjust="0"/>
    <p:restoredTop sz="97410" autoAdjust="0"/>
  </p:normalViewPr>
  <p:slideViewPr>
    <p:cSldViewPr snapToGrid="0" showGuides="1">
      <p:cViewPr varScale="1">
        <p:scale>
          <a:sx n="68" d="100"/>
          <a:sy n="68" d="100"/>
        </p:scale>
        <p:origin x="87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4244" y="5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D1A357C9-7111-E45E-E7EF-9C87B538C0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D1842B6-6384-D705-3DB7-804A8274D38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D10D0D-852F-458F-9C25-7087B987388F}" type="datetime1">
              <a:rPr lang="zh-CN" altLang="en-US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023/7/17</a:t>
            </a:fld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6272202-571B-DFE4-494E-CFD20A1E65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B69EA49-542E-819F-1DEF-30A81259EB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735FB0-CD55-42E5-8D20-866C9EB59AB2}" type="slidenum">
              <a:rPr lang="zh-CN" altLang="en-US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‹#›</a:t>
            </a:fld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4320269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fld id="{7BEF5BE5-DF1E-439E-85EE-6956D5F34080}" type="datetime1">
              <a:rPr lang="zh-CN" altLang="en-US" smtClean="0"/>
              <a:pPr/>
              <a:t>2023/7/17</a:t>
            </a:fld>
            <a:endParaRPr lang="zh-CN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fld id="{A3ED8765-8EF3-408C-9341-152904E414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8542607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微软雅黑 Light" panose="020B0502040204020203" pitchFamily="34" charset="-122"/>
        <a:ea typeface="微软雅黑 Light" panose="020B0502040204020203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 Light" panose="020B0502040204020203" pitchFamily="34" charset="-122"/>
        <a:ea typeface="微软雅黑 Light" panose="020B0502040204020203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 Light" panose="020B0502040204020203" pitchFamily="34" charset="-122"/>
        <a:ea typeface="微软雅黑 Light" panose="020B0502040204020203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 Light" panose="020B0502040204020203" pitchFamily="34" charset="-122"/>
        <a:ea typeface="微软雅黑 Light" panose="020B0502040204020203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 Light" panose="020B0502040204020203" pitchFamily="34" charset="-122"/>
        <a:ea typeface="微软雅黑 Light" panose="020B0502040204020203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4AB6CCB-DEE2-4893-87F5-2E7BB7A3646F}" type="datetime1">
              <a:rPr lang="zh-CN" altLang="en-US" smtClean="0"/>
              <a:t>2023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D8765-8EF3-408C-9341-152904E414ED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2401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BEF5BE5-DF1E-439E-85EE-6956D5F34080}" type="datetime1">
              <a:rPr lang="zh-CN" altLang="en-US" smtClean="0"/>
              <a:t>2023/7/17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D8765-8EF3-408C-9341-152904E414ED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68595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DA1D2110-C89D-4287-5A7A-972FC2E9B4B9}"/>
              </a:ext>
            </a:extLst>
          </p:cNvPr>
          <p:cNvSpPr/>
          <p:nvPr userDrawn="1"/>
        </p:nvSpPr>
        <p:spPr>
          <a:xfrm rot="189814">
            <a:off x="-47808" y="4697899"/>
            <a:ext cx="11957454" cy="1541852"/>
          </a:xfrm>
          <a:custGeom>
            <a:avLst/>
            <a:gdLst>
              <a:gd name="connsiteX0" fmla="*/ 238194 w 11957454"/>
              <a:gd name="connsiteY0" fmla="*/ 3984 h 1541852"/>
              <a:gd name="connsiteX1" fmla="*/ 317090 w 11957454"/>
              <a:gd name="connsiteY1" fmla="*/ 0 h 1541852"/>
              <a:gd name="connsiteX2" fmla="*/ 11280663 w 11957454"/>
              <a:gd name="connsiteY2" fmla="*/ 0 h 1541852"/>
              <a:gd name="connsiteX3" fmla="*/ 11359560 w 11957454"/>
              <a:gd name="connsiteY3" fmla="*/ 3984 h 1541852"/>
              <a:gd name="connsiteX4" fmla="*/ 11920520 w 11957454"/>
              <a:gd name="connsiteY4" fmla="*/ 340209 h 1541852"/>
              <a:gd name="connsiteX5" fmla="*/ 11957454 w 11957454"/>
              <a:gd name="connsiteY5" fmla="*/ 408255 h 1541852"/>
              <a:gd name="connsiteX6" fmla="*/ 11912536 w 11957454"/>
              <a:gd name="connsiteY6" fmla="*/ 887933 h 1541852"/>
              <a:gd name="connsiteX7" fmla="*/ 81366 w 11957454"/>
              <a:gd name="connsiteY7" fmla="*/ 1541852 h 1541852"/>
              <a:gd name="connsiteX8" fmla="*/ 0 w 11957454"/>
              <a:gd name="connsiteY8" fmla="*/ 69722 h 1541852"/>
              <a:gd name="connsiteX9" fmla="*/ 16733 w 11957454"/>
              <a:gd name="connsiteY9" fmla="*/ 60639 h 1541852"/>
              <a:gd name="connsiteX10" fmla="*/ 238194 w 11957454"/>
              <a:gd name="connsiteY10" fmla="*/ 3984 h 154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57454" h="1541852">
                <a:moveTo>
                  <a:pt x="238194" y="3984"/>
                </a:moveTo>
                <a:cubicBezTo>
                  <a:pt x="264135" y="1349"/>
                  <a:pt x="290455" y="0"/>
                  <a:pt x="317090" y="0"/>
                </a:cubicBezTo>
                <a:lnTo>
                  <a:pt x="11280663" y="0"/>
                </a:lnTo>
                <a:cubicBezTo>
                  <a:pt x="11307298" y="0"/>
                  <a:pt x="11333619" y="1350"/>
                  <a:pt x="11359560" y="3984"/>
                </a:cubicBezTo>
                <a:cubicBezTo>
                  <a:pt x="11593022" y="27693"/>
                  <a:pt x="11795718" y="155477"/>
                  <a:pt x="11920520" y="340209"/>
                </a:cubicBezTo>
                <a:lnTo>
                  <a:pt x="11957454" y="408255"/>
                </a:lnTo>
                <a:lnTo>
                  <a:pt x="11912536" y="887933"/>
                </a:lnTo>
                <a:lnTo>
                  <a:pt x="81366" y="1541852"/>
                </a:lnTo>
                <a:lnTo>
                  <a:pt x="0" y="69722"/>
                </a:lnTo>
                <a:lnTo>
                  <a:pt x="16733" y="60639"/>
                </a:lnTo>
                <a:cubicBezTo>
                  <a:pt x="85971" y="31354"/>
                  <a:pt x="160373" y="11887"/>
                  <a:pt x="238194" y="3984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AAA6DF9B-50B5-E1DC-D96E-3D7009EBEE2F}"/>
              </a:ext>
            </a:extLst>
          </p:cNvPr>
          <p:cNvSpPr/>
          <p:nvPr userDrawn="1"/>
        </p:nvSpPr>
        <p:spPr>
          <a:xfrm rot="21279018">
            <a:off x="-71788" y="4382660"/>
            <a:ext cx="12386375" cy="3051095"/>
          </a:xfrm>
          <a:custGeom>
            <a:avLst/>
            <a:gdLst>
              <a:gd name="connsiteX0" fmla="*/ 11788481 w 12386375"/>
              <a:gd name="connsiteY0" fmla="*/ 3984 h 3051095"/>
              <a:gd name="connsiteX1" fmla="*/ 12349441 w 12386375"/>
              <a:gd name="connsiteY1" fmla="*/ 340209 h 3051095"/>
              <a:gd name="connsiteX2" fmla="*/ 12386375 w 12386375"/>
              <a:gd name="connsiteY2" fmla="*/ 408255 h 3051095"/>
              <a:gd name="connsiteX3" fmla="*/ 12138894 w 12386375"/>
              <a:gd name="connsiteY3" fmla="*/ 3051095 h 3051095"/>
              <a:gd name="connsiteX4" fmla="*/ 0 w 12386375"/>
              <a:gd name="connsiteY4" fmla="*/ 1914382 h 3051095"/>
              <a:gd name="connsiteX5" fmla="*/ 152690 w 12386375"/>
              <a:gd name="connsiteY5" fmla="*/ 283807 h 3051095"/>
              <a:gd name="connsiteX6" fmla="*/ 200379 w 12386375"/>
              <a:gd name="connsiteY6" fmla="*/ 226008 h 3051095"/>
              <a:gd name="connsiteX7" fmla="*/ 746011 w 12386375"/>
              <a:gd name="connsiteY7" fmla="*/ 0 h 3051095"/>
              <a:gd name="connsiteX8" fmla="*/ 11709584 w 12386375"/>
              <a:gd name="connsiteY8" fmla="*/ 0 h 3051095"/>
              <a:gd name="connsiteX9" fmla="*/ 11788481 w 12386375"/>
              <a:gd name="connsiteY9" fmla="*/ 3984 h 305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86375" h="3051095">
                <a:moveTo>
                  <a:pt x="11788481" y="3984"/>
                </a:moveTo>
                <a:cubicBezTo>
                  <a:pt x="12021943" y="27693"/>
                  <a:pt x="12224639" y="155477"/>
                  <a:pt x="12349441" y="340209"/>
                </a:cubicBezTo>
                <a:lnTo>
                  <a:pt x="12386375" y="408255"/>
                </a:lnTo>
                <a:lnTo>
                  <a:pt x="12138894" y="3051095"/>
                </a:lnTo>
                <a:lnTo>
                  <a:pt x="0" y="1914382"/>
                </a:lnTo>
                <a:lnTo>
                  <a:pt x="152690" y="283807"/>
                </a:lnTo>
                <a:lnTo>
                  <a:pt x="200379" y="226008"/>
                </a:lnTo>
                <a:cubicBezTo>
                  <a:pt x="340018" y="86369"/>
                  <a:pt x="532928" y="0"/>
                  <a:pt x="746011" y="0"/>
                </a:cubicBezTo>
                <a:lnTo>
                  <a:pt x="11709584" y="0"/>
                </a:lnTo>
                <a:cubicBezTo>
                  <a:pt x="11736219" y="0"/>
                  <a:pt x="11762540" y="1350"/>
                  <a:pt x="11788481" y="398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67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E6D88CEB-1FCD-9BE7-240B-DFB1B0BB85EB}"/>
              </a:ext>
            </a:extLst>
          </p:cNvPr>
          <p:cNvSpPr/>
          <p:nvPr userDrawn="1"/>
        </p:nvSpPr>
        <p:spPr>
          <a:xfrm>
            <a:off x="6999856" y="1906173"/>
            <a:ext cx="422024" cy="42202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3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47FD1869-4BB9-BD82-A9E8-DF2D0B73D9D4}"/>
              </a:ext>
            </a:extLst>
          </p:cNvPr>
          <p:cNvSpPr/>
          <p:nvPr userDrawn="1"/>
        </p:nvSpPr>
        <p:spPr>
          <a:xfrm>
            <a:off x="427244" y="1979312"/>
            <a:ext cx="618066" cy="618066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90000">
                <a:schemeClr val="accent3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gradFill>
                <a:gsLst>
                  <a:gs pos="0">
                    <a:schemeClr val="accent4"/>
                  </a:gs>
                  <a:gs pos="90000">
                    <a:schemeClr val="accent3"/>
                  </a:gs>
                </a:gsLst>
                <a:lin ang="4200000" scaled="0"/>
              </a:gra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545B57F-7D9D-4AD8-9FE4-E5267D65BB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200" y="2061757"/>
            <a:ext cx="6913881" cy="1057010"/>
          </a:xfrm>
          <a:prstGeom prst="rect">
            <a:avLst/>
          </a:prstGeom>
        </p:spPr>
        <p:txBody>
          <a:bodyPr vert="horz" lIns="36000" tIns="45720" rIns="91440" bIns="45720" rtlCol="0" anchor="b">
            <a:noAutofit/>
          </a:bodyPr>
          <a:lstStyle>
            <a:lvl1pPr>
              <a:defRPr lang="zh-CN" altLang="en-US" sz="6600" b="1" dirty="0">
                <a:solidFill>
                  <a:schemeClr val="accent1"/>
                </a:solidFill>
              </a:defRPr>
            </a:lvl1pPr>
          </a:lstStyle>
          <a:p>
            <a:pPr lvl="0" defTabSz="914354"/>
            <a:endParaRPr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2DDB65F-C302-4F35-9CCB-12FB82E259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4200" y="3138728"/>
            <a:ext cx="6913881" cy="4391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spcBef>
                <a:spcPts val="0"/>
              </a:spcBef>
              <a:buNone/>
              <a:defRPr lang="zh-CN" altLang="en-US" sz="2800" b="0">
                <a:solidFill>
                  <a:schemeClr val="tx1">
                    <a:alpha val="35000"/>
                  </a:schemeClr>
                </a:solidFill>
              </a:defRPr>
            </a:lvl1pPr>
          </a:lstStyle>
          <a:p>
            <a:pPr marL="228600" marR="0" lvl="0" indent="-228600" algn="l" defTabSz="914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 Click to edit text</a:t>
            </a:r>
          </a:p>
          <a:p>
            <a:pPr marL="228600" lvl="0" indent="-228600" defTabSz="914354"/>
            <a:endParaRPr lang="en-US" altLang="zh-CN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FA9CC832-F382-9D3B-8827-AC3490BB22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0" t="17644" r="24790" b="36724"/>
          <a:stretch/>
        </p:blipFill>
        <p:spPr>
          <a:xfrm>
            <a:off x="6902305" y="897790"/>
            <a:ext cx="5146579" cy="5236310"/>
          </a:xfrm>
          <a:prstGeom prst="rect">
            <a:avLst/>
          </a:prstGeom>
          <a:effectLst>
            <a:reflection blurRad="38100" stA="16000" endPos="17000" dist="38100" dir="5400000" sy="-100000" algn="bl" rotWithShape="0"/>
          </a:effectLst>
        </p:spPr>
      </p:pic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D7A6BF52-930D-F88E-8E59-C9DA8DBF4D7A}"/>
              </a:ext>
            </a:extLst>
          </p:cNvPr>
          <p:cNvSpPr/>
          <p:nvPr userDrawn="1"/>
        </p:nvSpPr>
        <p:spPr>
          <a:xfrm>
            <a:off x="2735251" y="3826965"/>
            <a:ext cx="1663017" cy="41932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90000">
                <a:schemeClr val="accent3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2AA8FE43-9475-7EC5-1E8A-C1DB4E56469B}"/>
              </a:ext>
            </a:extLst>
          </p:cNvPr>
          <p:cNvSpPr/>
          <p:nvPr userDrawn="1"/>
        </p:nvSpPr>
        <p:spPr>
          <a:xfrm>
            <a:off x="684201" y="3837857"/>
            <a:ext cx="1663017" cy="3975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44C4A721-803B-47CB-B99E-1D01E8E016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200" y="3880374"/>
            <a:ext cx="1663017" cy="3125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smtClean="0">
                <a:solidFill>
                  <a:srgbClr val="FFFFFF"/>
                </a:solidFill>
                <a:latin typeface="+mn-lt"/>
                <a:ea typeface="+mj-ea"/>
              </a:defRPr>
            </a:lvl1pPr>
            <a:lvl2pPr>
              <a:defRPr lang="en-US" altLang="zh-CN" sz="1600" smtClean="0"/>
            </a:lvl2pPr>
            <a:lvl3pPr>
              <a:defRPr lang="en-US" altLang="zh-CN" sz="1400" smtClean="0"/>
            </a:lvl3pPr>
            <a:lvl4pPr>
              <a:defRPr lang="en-US" altLang="zh-CN" sz="1200" smtClean="0"/>
            </a:lvl4pPr>
            <a:lvl5pPr>
              <a:defRPr lang="zh-CN" altLang="en-US" sz="1200"/>
            </a:lvl5pPr>
          </a:lstStyle>
          <a:p>
            <a:pPr lvl="0"/>
            <a:r>
              <a:rPr lang="en-US" altLang="zh-CN" dirty="0"/>
              <a:t> Click to edit text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CA939A61-406D-45DC-B757-059EFAA058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35250" y="3888492"/>
            <a:ext cx="1663016" cy="296271"/>
          </a:xfrm>
          <a:prstGeom prst="rect">
            <a:avLst/>
          </a:prstGeom>
        </p:spPr>
        <p:txBody>
          <a:bodyPr vert="horz" lIns="108000" tIns="45720" rIns="91440" bIns="45720" rtlCol="0" anchor="ctr">
            <a:noAutofit/>
          </a:bodyPr>
          <a:lstStyle>
            <a:lvl1pPr marL="0" indent="0" algn="ctr">
              <a:buNone/>
              <a:defRPr lang="en-US" altLang="zh-CN" sz="1400" b="0" smtClean="0">
                <a:solidFill>
                  <a:srgbClr val="FFFFFF"/>
                </a:solidFill>
                <a:latin typeface="+mn-lt"/>
                <a:ea typeface="+mj-ea"/>
              </a:defRPr>
            </a:lvl1pPr>
            <a:lvl2pPr>
              <a:defRPr lang="en-US" altLang="zh-CN" sz="1600" smtClean="0"/>
            </a:lvl2pPr>
            <a:lvl3pPr>
              <a:defRPr lang="en-US" altLang="zh-CN" sz="1400" smtClean="0"/>
            </a:lvl3pPr>
            <a:lvl4pPr>
              <a:defRPr lang="en-US" altLang="zh-CN" sz="1200" smtClean="0"/>
            </a:lvl4pPr>
            <a:lvl5pPr>
              <a:defRPr lang="zh-CN" altLang="en-US"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 Click to edit text</a:t>
            </a: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DB388C1D-CE22-84E6-0A6E-A89865F8BF36}"/>
              </a:ext>
            </a:extLst>
          </p:cNvPr>
          <p:cNvSpPr/>
          <p:nvPr userDrawn="1"/>
        </p:nvSpPr>
        <p:spPr>
          <a:xfrm>
            <a:off x="11520140" y="1"/>
            <a:ext cx="671861" cy="654567"/>
          </a:xfrm>
          <a:custGeom>
            <a:avLst/>
            <a:gdLst>
              <a:gd name="connsiteX0" fmla="*/ 0 w 671861"/>
              <a:gd name="connsiteY0" fmla="*/ 0 h 654567"/>
              <a:gd name="connsiteX1" fmla="*/ 671861 w 671861"/>
              <a:gd name="connsiteY1" fmla="*/ 0 h 654567"/>
              <a:gd name="connsiteX2" fmla="*/ 671861 w 671861"/>
              <a:gd name="connsiteY2" fmla="*/ 654089 h 654567"/>
              <a:gd name="connsiteX3" fmla="*/ 667115 w 671861"/>
              <a:gd name="connsiteY3" fmla="*/ 654567 h 654567"/>
              <a:gd name="connsiteX4" fmla="*/ 12175 w 671861"/>
              <a:gd name="connsiteY4" fmla="*/ 120776 h 654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861" h="654567">
                <a:moveTo>
                  <a:pt x="0" y="0"/>
                </a:moveTo>
                <a:lnTo>
                  <a:pt x="671861" y="0"/>
                </a:lnTo>
                <a:lnTo>
                  <a:pt x="671861" y="654089"/>
                </a:lnTo>
                <a:lnTo>
                  <a:pt x="667115" y="654567"/>
                </a:lnTo>
                <a:cubicBezTo>
                  <a:pt x="344052" y="654567"/>
                  <a:pt x="74512" y="425410"/>
                  <a:pt x="12175" y="12077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90000">
                <a:schemeClr val="accent2"/>
              </a:gs>
            </a:gsLst>
            <a:lin ang="4200000" scaled="0"/>
            <a:tileRect/>
          </a:gradFill>
          <a:ln>
            <a:noFill/>
          </a:ln>
          <a:effectLst>
            <a:outerShdw blurRad="114300" dist="88900" dir="8100000" algn="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95037C31-68D9-67D7-726F-E1BE7505AD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200" y="1369601"/>
            <a:ext cx="6913880" cy="6708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 b="1">
                <a:ln w="6350">
                  <a:solidFill>
                    <a:schemeClr val="accent2">
                      <a:lumMod val="75000"/>
                    </a:schemeClr>
                  </a:solidFill>
                </a:ln>
                <a:noFill/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18541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86C71019-5680-B59A-07EF-8D717A6DC1BE}"/>
              </a:ext>
            </a:extLst>
          </p:cNvPr>
          <p:cNvSpPr/>
          <p:nvPr userDrawn="1"/>
        </p:nvSpPr>
        <p:spPr>
          <a:xfrm>
            <a:off x="0" y="338666"/>
            <a:ext cx="2921000" cy="6180667"/>
          </a:xfrm>
          <a:custGeom>
            <a:avLst/>
            <a:gdLst>
              <a:gd name="connsiteX0" fmla="*/ 0 w 2209799"/>
              <a:gd name="connsiteY0" fmla="*/ 0 h 5439833"/>
              <a:gd name="connsiteX1" fmla="*/ 1603015 w 2209799"/>
              <a:gd name="connsiteY1" fmla="*/ 0 h 5439833"/>
              <a:gd name="connsiteX2" fmla="*/ 2209799 w 2209799"/>
              <a:gd name="connsiteY2" fmla="*/ 606784 h 5439833"/>
              <a:gd name="connsiteX3" fmla="*/ 2209799 w 2209799"/>
              <a:gd name="connsiteY3" fmla="*/ 4833049 h 5439833"/>
              <a:gd name="connsiteX4" fmla="*/ 1603015 w 2209799"/>
              <a:gd name="connsiteY4" fmla="*/ 5439833 h 5439833"/>
              <a:gd name="connsiteX5" fmla="*/ 0 w 2209799"/>
              <a:gd name="connsiteY5" fmla="*/ 5439833 h 5439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09799" h="5439833">
                <a:moveTo>
                  <a:pt x="0" y="0"/>
                </a:moveTo>
                <a:lnTo>
                  <a:pt x="1603015" y="0"/>
                </a:lnTo>
                <a:cubicBezTo>
                  <a:pt x="1938133" y="0"/>
                  <a:pt x="2209799" y="271666"/>
                  <a:pt x="2209799" y="606784"/>
                </a:cubicBezTo>
                <a:lnTo>
                  <a:pt x="2209799" y="4833049"/>
                </a:lnTo>
                <a:cubicBezTo>
                  <a:pt x="2209799" y="5168167"/>
                  <a:pt x="1938133" y="5439833"/>
                  <a:pt x="1603015" y="5439833"/>
                </a:cubicBezTo>
                <a:lnTo>
                  <a:pt x="0" y="5439833"/>
                </a:lnTo>
                <a:close/>
              </a:path>
            </a:pathLst>
          </a:custGeom>
          <a:solidFill>
            <a:schemeClr val="accent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2BCE50B-3E66-4800-06A1-1CC2CACF93BF}"/>
              </a:ext>
            </a:extLst>
          </p:cNvPr>
          <p:cNvSpPr/>
          <p:nvPr userDrawn="1"/>
        </p:nvSpPr>
        <p:spPr>
          <a:xfrm>
            <a:off x="0" y="709083"/>
            <a:ext cx="2559050" cy="5439833"/>
          </a:xfrm>
          <a:custGeom>
            <a:avLst/>
            <a:gdLst>
              <a:gd name="connsiteX0" fmla="*/ 0 w 2209799"/>
              <a:gd name="connsiteY0" fmla="*/ 0 h 5439833"/>
              <a:gd name="connsiteX1" fmla="*/ 1603015 w 2209799"/>
              <a:gd name="connsiteY1" fmla="*/ 0 h 5439833"/>
              <a:gd name="connsiteX2" fmla="*/ 2209799 w 2209799"/>
              <a:gd name="connsiteY2" fmla="*/ 606784 h 5439833"/>
              <a:gd name="connsiteX3" fmla="*/ 2209799 w 2209799"/>
              <a:gd name="connsiteY3" fmla="*/ 4833049 h 5439833"/>
              <a:gd name="connsiteX4" fmla="*/ 1603015 w 2209799"/>
              <a:gd name="connsiteY4" fmla="*/ 5439833 h 5439833"/>
              <a:gd name="connsiteX5" fmla="*/ 0 w 2209799"/>
              <a:gd name="connsiteY5" fmla="*/ 5439833 h 5439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09799" h="5439833">
                <a:moveTo>
                  <a:pt x="0" y="0"/>
                </a:moveTo>
                <a:lnTo>
                  <a:pt x="1603015" y="0"/>
                </a:lnTo>
                <a:cubicBezTo>
                  <a:pt x="1938133" y="0"/>
                  <a:pt x="2209799" y="271666"/>
                  <a:pt x="2209799" y="606784"/>
                </a:cubicBezTo>
                <a:lnTo>
                  <a:pt x="2209799" y="4833049"/>
                </a:lnTo>
                <a:cubicBezTo>
                  <a:pt x="2209799" y="5168167"/>
                  <a:pt x="1938133" y="5439833"/>
                  <a:pt x="1603015" y="5439833"/>
                </a:cubicBezTo>
                <a:lnTo>
                  <a:pt x="0" y="5439833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1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200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5DC6DA8-D137-41D2-A934-63CB8FFB8B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590799"/>
            <a:ext cx="1714499" cy="774701"/>
          </a:xfrm>
          <a:prstGeom prst="rect">
            <a:avLst/>
          </a:prstGeom>
        </p:spPr>
        <p:txBody>
          <a:bodyPr lIns="36000">
            <a:noAutofit/>
          </a:bodyPr>
          <a:lstStyle>
            <a:lvl1pPr algn="ctr">
              <a:defRPr sz="6000">
                <a:solidFill>
                  <a:srgbClr val="FFFFFF"/>
                </a:solidFill>
              </a:defRPr>
            </a:lvl1pPr>
          </a:lstStyle>
          <a:p>
            <a:r>
              <a:rPr lang="zh-CN" altLang="en-US" dirty="0"/>
              <a:t>目录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E657089-79A9-BEDE-4A0A-73E34B5EA5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3463925"/>
            <a:ext cx="1714500" cy="5439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ONTENT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46A11760-3641-D4C5-0937-8E79C42C693A}"/>
              </a:ext>
            </a:extLst>
          </p:cNvPr>
          <p:cNvSpPr/>
          <p:nvPr userDrawn="1"/>
        </p:nvSpPr>
        <p:spPr>
          <a:xfrm>
            <a:off x="11520140" y="1"/>
            <a:ext cx="671861" cy="654567"/>
          </a:xfrm>
          <a:custGeom>
            <a:avLst/>
            <a:gdLst>
              <a:gd name="connsiteX0" fmla="*/ 0 w 671861"/>
              <a:gd name="connsiteY0" fmla="*/ 0 h 654567"/>
              <a:gd name="connsiteX1" fmla="*/ 671861 w 671861"/>
              <a:gd name="connsiteY1" fmla="*/ 0 h 654567"/>
              <a:gd name="connsiteX2" fmla="*/ 671861 w 671861"/>
              <a:gd name="connsiteY2" fmla="*/ 654089 h 654567"/>
              <a:gd name="connsiteX3" fmla="*/ 667115 w 671861"/>
              <a:gd name="connsiteY3" fmla="*/ 654567 h 654567"/>
              <a:gd name="connsiteX4" fmla="*/ 12175 w 671861"/>
              <a:gd name="connsiteY4" fmla="*/ 120776 h 654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861" h="654567">
                <a:moveTo>
                  <a:pt x="0" y="0"/>
                </a:moveTo>
                <a:lnTo>
                  <a:pt x="671861" y="0"/>
                </a:lnTo>
                <a:lnTo>
                  <a:pt x="671861" y="654089"/>
                </a:lnTo>
                <a:lnTo>
                  <a:pt x="667115" y="654567"/>
                </a:lnTo>
                <a:cubicBezTo>
                  <a:pt x="344052" y="654567"/>
                  <a:pt x="74512" y="425410"/>
                  <a:pt x="12175" y="12077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90000">
                <a:schemeClr val="accent4"/>
              </a:gs>
            </a:gsLst>
            <a:lin ang="4200000" scaled="0"/>
            <a:tileRect/>
          </a:gradFill>
          <a:ln>
            <a:noFill/>
          </a:ln>
          <a:effectLst>
            <a:outerShdw blurRad="114300" dist="88900" dir="8100000" algn="tr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374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FDC01EF3-6980-2E06-6A4C-7245716DCE40}"/>
              </a:ext>
            </a:extLst>
          </p:cNvPr>
          <p:cNvSpPr/>
          <p:nvPr userDrawn="1"/>
        </p:nvSpPr>
        <p:spPr>
          <a:xfrm rot="189814">
            <a:off x="-47808" y="4697899"/>
            <a:ext cx="11957454" cy="1541852"/>
          </a:xfrm>
          <a:custGeom>
            <a:avLst/>
            <a:gdLst>
              <a:gd name="connsiteX0" fmla="*/ 238194 w 11957454"/>
              <a:gd name="connsiteY0" fmla="*/ 3984 h 1541852"/>
              <a:gd name="connsiteX1" fmla="*/ 317090 w 11957454"/>
              <a:gd name="connsiteY1" fmla="*/ 0 h 1541852"/>
              <a:gd name="connsiteX2" fmla="*/ 11280663 w 11957454"/>
              <a:gd name="connsiteY2" fmla="*/ 0 h 1541852"/>
              <a:gd name="connsiteX3" fmla="*/ 11359560 w 11957454"/>
              <a:gd name="connsiteY3" fmla="*/ 3984 h 1541852"/>
              <a:gd name="connsiteX4" fmla="*/ 11920520 w 11957454"/>
              <a:gd name="connsiteY4" fmla="*/ 340209 h 1541852"/>
              <a:gd name="connsiteX5" fmla="*/ 11957454 w 11957454"/>
              <a:gd name="connsiteY5" fmla="*/ 408255 h 1541852"/>
              <a:gd name="connsiteX6" fmla="*/ 11912536 w 11957454"/>
              <a:gd name="connsiteY6" fmla="*/ 887933 h 1541852"/>
              <a:gd name="connsiteX7" fmla="*/ 81366 w 11957454"/>
              <a:gd name="connsiteY7" fmla="*/ 1541852 h 1541852"/>
              <a:gd name="connsiteX8" fmla="*/ 0 w 11957454"/>
              <a:gd name="connsiteY8" fmla="*/ 69722 h 1541852"/>
              <a:gd name="connsiteX9" fmla="*/ 16733 w 11957454"/>
              <a:gd name="connsiteY9" fmla="*/ 60639 h 1541852"/>
              <a:gd name="connsiteX10" fmla="*/ 238194 w 11957454"/>
              <a:gd name="connsiteY10" fmla="*/ 3984 h 154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57454" h="1541852">
                <a:moveTo>
                  <a:pt x="238194" y="3984"/>
                </a:moveTo>
                <a:cubicBezTo>
                  <a:pt x="264135" y="1349"/>
                  <a:pt x="290455" y="0"/>
                  <a:pt x="317090" y="0"/>
                </a:cubicBezTo>
                <a:lnTo>
                  <a:pt x="11280663" y="0"/>
                </a:lnTo>
                <a:cubicBezTo>
                  <a:pt x="11307298" y="0"/>
                  <a:pt x="11333619" y="1350"/>
                  <a:pt x="11359560" y="3984"/>
                </a:cubicBezTo>
                <a:cubicBezTo>
                  <a:pt x="11593022" y="27693"/>
                  <a:pt x="11795718" y="155477"/>
                  <a:pt x="11920520" y="340209"/>
                </a:cubicBezTo>
                <a:lnTo>
                  <a:pt x="11957454" y="408255"/>
                </a:lnTo>
                <a:lnTo>
                  <a:pt x="11912536" y="887933"/>
                </a:lnTo>
                <a:lnTo>
                  <a:pt x="81366" y="1541852"/>
                </a:lnTo>
                <a:lnTo>
                  <a:pt x="0" y="69722"/>
                </a:lnTo>
                <a:lnTo>
                  <a:pt x="16733" y="60639"/>
                </a:lnTo>
                <a:cubicBezTo>
                  <a:pt x="85971" y="31354"/>
                  <a:pt x="160373" y="11887"/>
                  <a:pt x="238194" y="3984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E962D107-5017-846D-84A2-250116EE6FDC}"/>
              </a:ext>
            </a:extLst>
          </p:cNvPr>
          <p:cNvSpPr/>
          <p:nvPr userDrawn="1"/>
        </p:nvSpPr>
        <p:spPr>
          <a:xfrm rot="21279018">
            <a:off x="-59875" y="4411308"/>
            <a:ext cx="12425347" cy="3051095"/>
          </a:xfrm>
          <a:custGeom>
            <a:avLst/>
            <a:gdLst>
              <a:gd name="connsiteX0" fmla="*/ 11788481 w 12386375"/>
              <a:gd name="connsiteY0" fmla="*/ 3984 h 3051095"/>
              <a:gd name="connsiteX1" fmla="*/ 12349441 w 12386375"/>
              <a:gd name="connsiteY1" fmla="*/ 340209 h 3051095"/>
              <a:gd name="connsiteX2" fmla="*/ 12386375 w 12386375"/>
              <a:gd name="connsiteY2" fmla="*/ 408255 h 3051095"/>
              <a:gd name="connsiteX3" fmla="*/ 12138894 w 12386375"/>
              <a:gd name="connsiteY3" fmla="*/ 3051095 h 3051095"/>
              <a:gd name="connsiteX4" fmla="*/ 0 w 12386375"/>
              <a:gd name="connsiteY4" fmla="*/ 1914382 h 3051095"/>
              <a:gd name="connsiteX5" fmla="*/ 152690 w 12386375"/>
              <a:gd name="connsiteY5" fmla="*/ 283807 h 3051095"/>
              <a:gd name="connsiteX6" fmla="*/ 200379 w 12386375"/>
              <a:gd name="connsiteY6" fmla="*/ 226008 h 3051095"/>
              <a:gd name="connsiteX7" fmla="*/ 746011 w 12386375"/>
              <a:gd name="connsiteY7" fmla="*/ 0 h 3051095"/>
              <a:gd name="connsiteX8" fmla="*/ 11709584 w 12386375"/>
              <a:gd name="connsiteY8" fmla="*/ 0 h 3051095"/>
              <a:gd name="connsiteX9" fmla="*/ 11788481 w 12386375"/>
              <a:gd name="connsiteY9" fmla="*/ 3984 h 305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86375" h="3051095">
                <a:moveTo>
                  <a:pt x="11788481" y="3984"/>
                </a:moveTo>
                <a:cubicBezTo>
                  <a:pt x="12021943" y="27693"/>
                  <a:pt x="12224639" y="155477"/>
                  <a:pt x="12349441" y="340209"/>
                </a:cubicBezTo>
                <a:lnTo>
                  <a:pt x="12386375" y="408255"/>
                </a:lnTo>
                <a:lnTo>
                  <a:pt x="12138894" y="3051095"/>
                </a:lnTo>
                <a:lnTo>
                  <a:pt x="0" y="1914382"/>
                </a:lnTo>
                <a:lnTo>
                  <a:pt x="152690" y="283807"/>
                </a:lnTo>
                <a:lnTo>
                  <a:pt x="200379" y="226008"/>
                </a:lnTo>
                <a:cubicBezTo>
                  <a:pt x="340018" y="86369"/>
                  <a:pt x="532928" y="0"/>
                  <a:pt x="746011" y="0"/>
                </a:cubicBezTo>
                <a:lnTo>
                  <a:pt x="11709584" y="0"/>
                </a:lnTo>
                <a:cubicBezTo>
                  <a:pt x="11736219" y="0"/>
                  <a:pt x="11762540" y="1350"/>
                  <a:pt x="11788481" y="3984"/>
                </a:cubicBezTo>
                <a:close/>
              </a:path>
            </a:pathLst>
          </a:custGeom>
          <a:gradFill flip="none" rotWithShape="1">
            <a:gsLst>
              <a:gs pos="6000">
                <a:schemeClr val="accent2"/>
              </a:gs>
              <a:gs pos="67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000C7662-4F6D-4B06-BB36-235FC06BF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560" y="2417929"/>
            <a:ext cx="7578739" cy="9510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zh-CN" altLang="en-US" sz="6600" b="1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lvl="0" defTabSz="914354"/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FF9930E-40DF-417D-8161-BD38EB172DC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73561" y="3397989"/>
            <a:ext cx="7578738" cy="440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altLang="zh-CN" sz="3200" kern="1200">
                <a:solidFill>
                  <a:schemeClr val="tx1">
                    <a:alpha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 Click to edit text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AE7945B6-638C-A238-A78C-953708FFF0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24053" t="14936" r="26206" b="10708"/>
          <a:stretch/>
        </p:blipFill>
        <p:spPr>
          <a:xfrm>
            <a:off x="506536" y="1451243"/>
            <a:ext cx="3721100" cy="4970723"/>
          </a:xfrm>
          <a:prstGeom prst="rect">
            <a:avLst/>
          </a:prstGeom>
        </p:spPr>
      </p:pic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6716C586-1F84-BBB7-82E9-95E252D8F80E}"/>
              </a:ext>
            </a:extLst>
          </p:cNvPr>
          <p:cNvSpPr/>
          <p:nvPr userDrawn="1"/>
        </p:nvSpPr>
        <p:spPr>
          <a:xfrm>
            <a:off x="11520140" y="1"/>
            <a:ext cx="671861" cy="654567"/>
          </a:xfrm>
          <a:custGeom>
            <a:avLst/>
            <a:gdLst>
              <a:gd name="connsiteX0" fmla="*/ 0 w 671861"/>
              <a:gd name="connsiteY0" fmla="*/ 0 h 654567"/>
              <a:gd name="connsiteX1" fmla="*/ 671861 w 671861"/>
              <a:gd name="connsiteY1" fmla="*/ 0 h 654567"/>
              <a:gd name="connsiteX2" fmla="*/ 671861 w 671861"/>
              <a:gd name="connsiteY2" fmla="*/ 654089 h 654567"/>
              <a:gd name="connsiteX3" fmla="*/ 667115 w 671861"/>
              <a:gd name="connsiteY3" fmla="*/ 654567 h 654567"/>
              <a:gd name="connsiteX4" fmla="*/ 12175 w 671861"/>
              <a:gd name="connsiteY4" fmla="*/ 120776 h 654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861" h="654567">
                <a:moveTo>
                  <a:pt x="0" y="0"/>
                </a:moveTo>
                <a:lnTo>
                  <a:pt x="671861" y="0"/>
                </a:lnTo>
                <a:lnTo>
                  <a:pt x="671861" y="654089"/>
                </a:lnTo>
                <a:lnTo>
                  <a:pt x="667115" y="654567"/>
                </a:lnTo>
                <a:cubicBezTo>
                  <a:pt x="344052" y="654567"/>
                  <a:pt x="74512" y="425410"/>
                  <a:pt x="12175" y="12077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90000">
                <a:schemeClr val="accent4"/>
              </a:gs>
            </a:gsLst>
            <a:lin ang="4200000" scaled="0"/>
            <a:tileRect/>
          </a:gradFill>
          <a:ln>
            <a:noFill/>
          </a:ln>
          <a:effectLst>
            <a:outerShdw blurRad="114300" dist="88900" dir="8100000" algn="tr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F6B4649C-A35D-ADFD-FECE-791D059080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3561" y="1471557"/>
            <a:ext cx="7578740" cy="8319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solidFill>
                  <a:schemeClr val="accent1">
                    <a:alpha val="1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altLang="zh-CN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41220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2EDE83-63CC-4B33-B715-3953EADE2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85328"/>
            <a:ext cx="5435600" cy="501650"/>
          </a:xfrm>
          <a:prstGeom prst="rect">
            <a:avLst/>
          </a:prstGeom>
        </p:spPr>
        <p:txBody>
          <a:bodyPr lIns="36000">
            <a:normAutofit/>
          </a:bodyPr>
          <a:lstStyle>
            <a:lvl1pPr>
              <a:defRPr sz="2800" b="1">
                <a:solidFill>
                  <a:schemeClr val="tx1">
                    <a:alpha val="85000"/>
                  </a:schemeClr>
                </a:solidFill>
                <a:latin typeface="+mj-ea"/>
                <a:ea typeface="+mj-ea"/>
              </a:defRPr>
            </a:lvl1pPr>
          </a:lstStyle>
          <a:p>
            <a:r>
              <a:rPr lang="en-US" altLang="zh-CN" dirty="0"/>
              <a:t>Click to edit title</a:t>
            </a:r>
            <a:endParaRPr lang="zh-CN" altLang="en-US" dirty="0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E70CDEB6-7586-0266-1B7B-AF8382DA2737}"/>
              </a:ext>
            </a:extLst>
          </p:cNvPr>
          <p:cNvSpPr/>
          <p:nvPr userDrawn="1"/>
        </p:nvSpPr>
        <p:spPr>
          <a:xfrm>
            <a:off x="0" y="0"/>
            <a:ext cx="711200" cy="774700"/>
          </a:xfrm>
          <a:custGeom>
            <a:avLst/>
            <a:gdLst>
              <a:gd name="connsiteX0" fmla="*/ 0 w 711200"/>
              <a:gd name="connsiteY0" fmla="*/ 0 h 774700"/>
              <a:gd name="connsiteX1" fmla="*/ 704799 w 711200"/>
              <a:gd name="connsiteY1" fmla="*/ 0 h 774700"/>
              <a:gd name="connsiteX2" fmla="*/ 711200 w 711200"/>
              <a:gd name="connsiteY2" fmla="*/ 63500 h 774700"/>
              <a:gd name="connsiteX3" fmla="*/ 0 w 711200"/>
              <a:gd name="connsiteY3" fmla="*/ 774700 h 774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200" h="774700">
                <a:moveTo>
                  <a:pt x="0" y="0"/>
                </a:moveTo>
                <a:lnTo>
                  <a:pt x="704799" y="0"/>
                </a:lnTo>
                <a:lnTo>
                  <a:pt x="711200" y="63500"/>
                </a:lnTo>
                <a:cubicBezTo>
                  <a:pt x="711200" y="456285"/>
                  <a:pt x="392785" y="774700"/>
                  <a:pt x="0" y="77470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67000">
                <a:schemeClr val="accent1"/>
              </a:gs>
            </a:gsLst>
            <a:lin ang="4200000" scaled="0"/>
            <a:tileRect/>
          </a:gradFill>
          <a:ln>
            <a:noFill/>
          </a:ln>
          <a:effectLst>
            <a:outerShdw blurRad="241300" dist="1397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73A753DB-94A0-EAEA-2722-2BAD9821F2D2}"/>
              </a:ext>
            </a:extLst>
          </p:cNvPr>
          <p:cNvSpPr/>
          <p:nvPr userDrawn="1"/>
        </p:nvSpPr>
        <p:spPr>
          <a:xfrm>
            <a:off x="1" y="514350"/>
            <a:ext cx="362551" cy="708058"/>
          </a:xfrm>
          <a:custGeom>
            <a:avLst/>
            <a:gdLst>
              <a:gd name="connsiteX0" fmla="*/ 8522 w 362551"/>
              <a:gd name="connsiteY0" fmla="*/ 0 h 708058"/>
              <a:gd name="connsiteX1" fmla="*/ 362551 w 362551"/>
              <a:gd name="connsiteY1" fmla="*/ 354029 h 708058"/>
              <a:gd name="connsiteX2" fmla="*/ 8522 w 362551"/>
              <a:gd name="connsiteY2" fmla="*/ 708058 h 708058"/>
              <a:gd name="connsiteX3" fmla="*/ 0 w 362551"/>
              <a:gd name="connsiteY3" fmla="*/ 707199 h 708058"/>
              <a:gd name="connsiteX4" fmla="*/ 0 w 362551"/>
              <a:gd name="connsiteY4" fmla="*/ 859 h 708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551" h="708058">
                <a:moveTo>
                  <a:pt x="8522" y="0"/>
                </a:moveTo>
                <a:cubicBezTo>
                  <a:pt x="204047" y="0"/>
                  <a:pt x="362551" y="158504"/>
                  <a:pt x="362551" y="354029"/>
                </a:cubicBezTo>
                <a:cubicBezTo>
                  <a:pt x="362551" y="549554"/>
                  <a:pt x="204047" y="708058"/>
                  <a:pt x="8522" y="708058"/>
                </a:cubicBezTo>
                <a:lnTo>
                  <a:pt x="0" y="707199"/>
                </a:lnTo>
                <a:lnTo>
                  <a:pt x="0" y="859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3"/>
              </a:gs>
            </a:gsLst>
            <a:lin ang="4200000" scaled="0"/>
            <a:tileRect/>
          </a:gradFill>
          <a:ln>
            <a:noFill/>
          </a:ln>
          <a:effectLst>
            <a:outerShdw blurRad="88900" dist="1016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7" name="日期占位符 36">
            <a:extLst>
              <a:ext uri="{FF2B5EF4-FFF2-40B4-BE49-F238E27FC236}">
                <a16:creationId xmlns:a16="http://schemas.microsoft.com/office/drawing/2014/main" id="{4836D44A-F103-61CA-1D26-B7986973D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778A7A25-0378-4D51-A234-5C8D099B59E8}" type="datetime1">
              <a:rPr lang="zh-CN" altLang="en-US" smtClean="0"/>
              <a:t>2023/7/17</a:t>
            </a:fld>
            <a:endParaRPr lang="zh-CN" altLang="en-US" dirty="0"/>
          </a:p>
        </p:txBody>
      </p:sp>
      <p:sp>
        <p:nvSpPr>
          <p:cNvPr id="38" name="页脚占位符 37">
            <a:extLst>
              <a:ext uri="{FF2B5EF4-FFF2-40B4-BE49-F238E27FC236}">
                <a16:creationId xmlns:a16="http://schemas.microsoft.com/office/drawing/2014/main" id="{89906905-50EB-F119-C422-86203F053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altLang="zh-CN" dirty="0" err="1"/>
              <a:t>OfficePLUS</a:t>
            </a:r>
            <a:endParaRPr lang="zh-CN" altLang="en-US" dirty="0"/>
          </a:p>
        </p:txBody>
      </p:sp>
      <p:sp>
        <p:nvSpPr>
          <p:cNvPr id="39" name="灯片编号占位符 38">
            <a:extLst>
              <a:ext uri="{FF2B5EF4-FFF2-40B4-BE49-F238E27FC236}">
                <a16:creationId xmlns:a16="http://schemas.microsoft.com/office/drawing/2014/main" id="{68B1419D-A952-C287-6E93-7364AC898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AD6B054-68FE-4499-9E56-B0DA1E971F3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7642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2B253BF-C44B-FB24-135C-5CE65867F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AEC15-A5B8-4A30-A135-E835E3FDAD0B}" type="datetime1">
              <a:rPr lang="zh-CN" altLang="en-US" smtClean="0"/>
              <a:t>2023/7/17</a:t>
            </a:fld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AE22BC9-FEF6-61CA-9D49-E190E940A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78304F-8079-12D7-CB0E-052210E9C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4911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0C6AAD15-5642-0431-A72F-862379F83245}"/>
              </a:ext>
            </a:extLst>
          </p:cNvPr>
          <p:cNvSpPr/>
          <p:nvPr userDrawn="1"/>
        </p:nvSpPr>
        <p:spPr>
          <a:xfrm rot="21279018">
            <a:off x="-46388" y="4382660"/>
            <a:ext cx="12386375" cy="3051095"/>
          </a:xfrm>
          <a:custGeom>
            <a:avLst/>
            <a:gdLst>
              <a:gd name="connsiteX0" fmla="*/ 11788481 w 12386375"/>
              <a:gd name="connsiteY0" fmla="*/ 3984 h 3051095"/>
              <a:gd name="connsiteX1" fmla="*/ 12349441 w 12386375"/>
              <a:gd name="connsiteY1" fmla="*/ 340209 h 3051095"/>
              <a:gd name="connsiteX2" fmla="*/ 12386375 w 12386375"/>
              <a:gd name="connsiteY2" fmla="*/ 408255 h 3051095"/>
              <a:gd name="connsiteX3" fmla="*/ 12138894 w 12386375"/>
              <a:gd name="connsiteY3" fmla="*/ 3051095 h 3051095"/>
              <a:gd name="connsiteX4" fmla="*/ 0 w 12386375"/>
              <a:gd name="connsiteY4" fmla="*/ 1914382 h 3051095"/>
              <a:gd name="connsiteX5" fmla="*/ 152690 w 12386375"/>
              <a:gd name="connsiteY5" fmla="*/ 283807 h 3051095"/>
              <a:gd name="connsiteX6" fmla="*/ 200379 w 12386375"/>
              <a:gd name="connsiteY6" fmla="*/ 226008 h 3051095"/>
              <a:gd name="connsiteX7" fmla="*/ 746011 w 12386375"/>
              <a:gd name="connsiteY7" fmla="*/ 0 h 3051095"/>
              <a:gd name="connsiteX8" fmla="*/ 11709584 w 12386375"/>
              <a:gd name="connsiteY8" fmla="*/ 0 h 3051095"/>
              <a:gd name="connsiteX9" fmla="*/ 11788481 w 12386375"/>
              <a:gd name="connsiteY9" fmla="*/ 3984 h 305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86375" h="3051095">
                <a:moveTo>
                  <a:pt x="11788481" y="3984"/>
                </a:moveTo>
                <a:cubicBezTo>
                  <a:pt x="12021943" y="27693"/>
                  <a:pt x="12224639" y="155477"/>
                  <a:pt x="12349441" y="340209"/>
                </a:cubicBezTo>
                <a:lnTo>
                  <a:pt x="12386375" y="408255"/>
                </a:lnTo>
                <a:lnTo>
                  <a:pt x="12138894" y="3051095"/>
                </a:lnTo>
                <a:lnTo>
                  <a:pt x="0" y="1914382"/>
                </a:lnTo>
                <a:lnTo>
                  <a:pt x="152690" y="283807"/>
                </a:lnTo>
                <a:lnTo>
                  <a:pt x="200379" y="226008"/>
                </a:lnTo>
                <a:cubicBezTo>
                  <a:pt x="340018" y="86369"/>
                  <a:pt x="532928" y="0"/>
                  <a:pt x="746011" y="0"/>
                </a:cubicBezTo>
                <a:lnTo>
                  <a:pt x="11709584" y="0"/>
                </a:lnTo>
                <a:cubicBezTo>
                  <a:pt x="11736219" y="0"/>
                  <a:pt x="11762540" y="1350"/>
                  <a:pt x="11788481" y="398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67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D833A3D-9047-71FA-6440-24854597E0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40" t="22672" r="29947" b="38712"/>
          <a:stretch/>
        </p:blipFill>
        <p:spPr>
          <a:xfrm>
            <a:off x="6133777" y="721896"/>
            <a:ext cx="5632815" cy="5303520"/>
          </a:xfrm>
          <a:prstGeom prst="rect">
            <a:avLst/>
          </a:prstGeom>
          <a:effectLst>
            <a:reflection blurRad="177800" stA="25000" endPos="35000" dir="5400000" sy="-100000" algn="bl" rotWithShape="0"/>
          </a:effectLst>
        </p:spPr>
      </p:pic>
      <p:sp>
        <p:nvSpPr>
          <p:cNvPr id="7" name="文本占位符 6">
            <a:extLst>
              <a:ext uri="{FF2B5EF4-FFF2-40B4-BE49-F238E27FC236}">
                <a16:creationId xmlns:a16="http://schemas.microsoft.com/office/drawing/2014/main" id="{C2320649-ACD7-42E9-A261-E6ED46ACB4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911898"/>
            <a:ext cx="10858500" cy="12729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>
              <a:buNone/>
              <a:defRPr lang="en-US" altLang="zh-CN" sz="6600" b="1" smtClean="0">
                <a:solidFill>
                  <a:schemeClr val="accent1"/>
                </a:solidFill>
                <a:latin typeface="+mj-ea"/>
                <a:ea typeface="+mj-ea"/>
                <a:cs typeface="+mj-cs"/>
              </a:defRPr>
            </a:lvl1pPr>
            <a:lvl2pPr marL="457200" indent="0">
              <a:buNone/>
              <a:defRPr lang="en-US" altLang="zh-CN" smtClean="0"/>
            </a:lvl2pPr>
            <a:lvl3pPr>
              <a:defRPr lang="en-US" altLang="zh-CN" smtClean="0"/>
            </a:lvl3pPr>
            <a:lvl4pPr>
              <a:defRPr lang="en-US" altLang="zh-CN" smtClean="0"/>
            </a:lvl4pPr>
            <a:lvl5pPr>
              <a:defRPr lang="zh-CN" altLang="en-US"/>
            </a:lvl5pPr>
          </a:lstStyle>
          <a:p>
            <a:pPr marL="228600" lvl="0" indent="-228600" defTabSz="914354"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A01EED25-4D2A-435D-A5F9-01DCC2F074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3" y="3679537"/>
            <a:ext cx="2203450" cy="29627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US" altLang="en-US" sz="1800" b="0" dirty="0">
                <a:solidFill>
                  <a:schemeClr val="accent3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Click to edit text</a:t>
            </a:r>
            <a:endParaRPr lang="en-GB" altLang="zh-CN" dirty="0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DC428848-58C6-4501-8214-B803889F27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3280864"/>
            <a:ext cx="2203450" cy="29627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US" sz="1800" b="0" dirty="0">
                <a:solidFill>
                  <a:schemeClr val="accent3"/>
                </a:solidFill>
                <a:latin typeface="+mn-lt"/>
                <a:ea typeface="+mj-ea"/>
              </a:defRPr>
            </a:lvl1pPr>
          </a:lstStyle>
          <a:p>
            <a:pPr marL="0" lvl="0" indent="0">
              <a:buNone/>
            </a:pPr>
            <a:r>
              <a:rPr lang="en-US" altLang="zh-CN" dirty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805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5" name="任意多边形: 形状 9794">
            <a:extLst>
              <a:ext uri="{FF2B5EF4-FFF2-40B4-BE49-F238E27FC236}">
                <a16:creationId xmlns:a16="http://schemas.microsoft.com/office/drawing/2014/main" id="{2B1D5EB3-FD51-4E9B-AC59-0D971ECE4F0C}"/>
              </a:ext>
            </a:extLst>
          </p:cNvPr>
          <p:cNvSpPr>
            <a:spLocks/>
          </p:cNvSpPr>
          <p:nvPr userDrawn="1"/>
        </p:nvSpPr>
        <p:spPr bwMode="auto">
          <a:xfrm>
            <a:off x="0" y="-1588"/>
            <a:ext cx="12193588" cy="6221413"/>
          </a:xfrm>
          <a:custGeom>
            <a:avLst/>
            <a:gdLst>
              <a:gd name="T0" fmla="*/ 0 w 6400"/>
              <a:gd name="T1" fmla="*/ 2470 h 3268"/>
              <a:gd name="T2" fmla="*/ 376 w 6400"/>
              <a:gd name="T3" fmla="*/ 2628 h 3268"/>
              <a:gd name="T4" fmla="*/ 1088 w 6400"/>
              <a:gd name="T5" fmla="*/ 2552 h 3268"/>
              <a:gd name="T6" fmla="*/ 1660 w 6400"/>
              <a:gd name="T7" fmla="*/ 2532 h 3268"/>
              <a:gd name="T8" fmla="*/ 2356 w 6400"/>
              <a:gd name="T9" fmla="*/ 2684 h 3268"/>
              <a:gd name="T10" fmla="*/ 3656 w 6400"/>
              <a:gd name="T11" fmla="*/ 2484 h 3268"/>
              <a:gd name="T12" fmla="*/ 4372 w 6400"/>
              <a:gd name="T13" fmla="*/ 2692 h 3268"/>
              <a:gd name="T14" fmla="*/ 5144 w 6400"/>
              <a:gd name="T15" fmla="*/ 2640 h 3268"/>
              <a:gd name="T16" fmla="*/ 5668 w 6400"/>
              <a:gd name="T17" fmla="*/ 2544 h 3268"/>
              <a:gd name="T18" fmla="*/ 6124 w 6400"/>
              <a:gd name="T19" fmla="*/ 2496 h 3268"/>
              <a:gd name="T20" fmla="*/ 6400 w 6400"/>
              <a:gd name="T21" fmla="*/ 2378 h 3268"/>
              <a:gd name="T22" fmla="*/ 6400 w 6400"/>
              <a:gd name="T23" fmla="*/ 0 h 3268"/>
              <a:gd name="T24" fmla="*/ 0 w 6400"/>
              <a:gd name="T25" fmla="*/ 0 h 3268"/>
              <a:gd name="T26" fmla="*/ 0 w 6400"/>
              <a:gd name="T27" fmla="*/ 2470 h 3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00" h="3268">
                <a:moveTo>
                  <a:pt x="0" y="2470"/>
                </a:moveTo>
                <a:cubicBezTo>
                  <a:pt x="0" y="2470"/>
                  <a:pt x="232" y="2676"/>
                  <a:pt x="376" y="2628"/>
                </a:cubicBezTo>
                <a:cubicBezTo>
                  <a:pt x="520" y="2580"/>
                  <a:pt x="627" y="2219"/>
                  <a:pt x="1088" y="2552"/>
                </a:cubicBezTo>
                <a:cubicBezTo>
                  <a:pt x="1520" y="2864"/>
                  <a:pt x="1660" y="2532"/>
                  <a:pt x="1660" y="2532"/>
                </a:cubicBezTo>
                <a:cubicBezTo>
                  <a:pt x="1660" y="2532"/>
                  <a:pt x="1888" y="2100"/>
                  <a:pt x="2356" y="2684"/>
                </a:cubicBezTo>
                <a:cubicBezTo>
                  <a:pt x="2824" y="3268"/>
                  <a:pt x="3656" y="2484"/>
                  <a:pt x="3656" y="2484"/>
                </a:cubicBezTo>
                <a:cubicBezTo>
                  <a:pt x="3656" y="2484"/>
                  <a:pt x="4020" y="2216"/>
                  <a:pt x="4372" y="2692"/>
                </a:cubicBezTo>
                <a:cubicBezTo>
                  <a:pt x="4740" y="3190"/>
                  <a:pt x="5144" y="2640"/>
                  <a:pt x="5144" y="2640"/>
                </a:cubicBezTo>
                <a:cubicBezTo>
                  <a:pt x="5144" y="2640"/>
                  <a:pt x="5376" y="2328"/>
                  <a:pt x="5668" y="2544"/>
                </a:cubicBezTo>
                <a:cubicBezTo>
                  <a:pt x="5999" y="2789"/>
                  <a:pt x="6124" y="2496"/>
                  <a:pt x="6124" y="2496"/>
                </a:cubicBezTo>
                <a:cubicBezTo>
                  <a:pt x="6124" y="2496"/>
                  <a:pt x="6240" y="2172"/>
                  <a:pt x="6400" y="2378"/>
                </a:cubicBezTo>
                <a:cubicBezTo>
                  <a:pt x="6400" y="0"/>
                  <a:pt x="6400" y="0"/>
                  <a:pt x="6400" y="0"/>
                </a:cubicBezTo>
                <a:cubicBezTo>
                  <a:pt x="0" y="0"/>
                  <a:pt x="0" y="0"/>
                  <a:pt x="0" y="0"/>
                </a:cubicBezTo>
                <a:lnTo>
                  <a:pt x="0" y="247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8" name="任意多边形: 形状 87">
            <a:extLst>
              <a:ext uri="{FF2B5EF4-FFF2-40B4-BE49-F238E27FC236}">
                <a16:creationId xmlns:a16="http://schemas.microsoft.com/office/drawing/2014/main" id="{2B761C1F-0895-419A-A3FC-E65646FEAE96}"/>
              </a:ext>
            </a:extLst>
          </p:cNvPr>
          <p:cNvSpPr>
            <a:spLocks/>
          </p:cNvSpPr>
          <p:nvPr userDrawn="1"/>
        </p:nvSpPr>
        <p:spPr bwMode="auto">
          <a:xfrm>
            <a:off x="-1588" y="4027826"/>
            <a:ext cx="12193588" cy="2830175"/>
          </a:xfrm>
          <a:custGeom>
            <a:avLst/>
            <a:gdLst>
              <a:gd name="connsiteX0" fmla="*/ 11488551 w 12193588"/>
              <a:gd name="connsiteY0" fmla="*/ 202 h 2830175"/>
              <a:gd name="connsiteX1" fmla="*/ 12193588 w 12193588"/>
              <a:gd name="connsiteY1" fmla="*/ 428054 h 2830175"/>
              <a:gd name="connsiteX2" fmla="*/ 12193588 w 12193588"/>
              <a:gd name="connsiteY2" fmla="*/ 2780733 h 2830175"/>
              <a:gd name="connsiteX3" fmla="*/ 12193588 w 12193588"/>
              <a:gd name="connsiteY3" fmla="*/ 2830175 h 2830175"/>
              <a:gd name="connsiteX4" fmla="*/ 0 w 12193588"/>
              <a:gd name="connsiteY4" fmla="*/ 2830175 h 2830175"/>
              <a:gd name="connsiteX5" fmla="*/ 0 w 12193588"/>
              <a:gd name="connsiteY5" fmla="*/ 260429 h 2830175"/>
              <a:gd name="connsiteX6" fmla="*/ 891656 w 12193588"/>
              <a:gd name="connsiteY6" fmla="*/ 534723 h 2830175"/>
              <a:gd name="connsiteX7" fmla="*/ 2774042 w 12193588"/>
              <a:gd name="connsiteY7" fmla="*/ 428054 h 2830175"/>
              <a:gd name="connsiteX8" fmla="*/ 4504007 w 12193588"/>
              <a:gd name="connsiteY8" fmla="*/ 428054 h 2830175"/>
              <a:gd name="connsiteX9" fmla="*/ 6394013 w 12193588"/>
              <a:gd name="connsiteY9" fmla="*/ 481388 h 2830175"/>
              <a:gd name="connsiteX10" fmla="*/ 8352608 w 12193588"/>
              <a:gd name="connsiteY10" fmla="*/ 412815 h 2830175"/>
              <a:gd name="connsiteX11" fmla="*/ 10997092 w 12193588"/>
              <a:gd name="connsiteY11" fmla="*/ 138521 h 2830175"/>
              <a:gd name="connsiteX12" fmla="*/ 11488551 w 12193588"/>
              <a:gd name="connsiteY12" fmla="*/ 202 h 28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3588" h="2830175">
                <a:moveTo>
                  <a:pt x="11488551" y="202"/>
                </a:moveTo>
                <a:cubicBezTo>
                  <a:pt x="11705755" y="5124"/>
                  <a:pt x="11963530" y="101377"/>
                  <a:pt x="12193588" y="428054"/>
                </a:cubicBezTo>
                <a:cubicBezTo>
                  <a:pt x="12193588" y="1872384"/>
                  <a:pt x="12193588" y="2504279"/>
                  <a:pt x="12193588" y="2780733"/>
                </a:cubicBezTo>
                <a:lnTo>
                  <a:pt x="12193588" y="2830175"/>
                </a:lnTo>
                <a:lnTo>
                  <a:pt x="0" y="2830175"/>
                </a:lnTo>
                <a:lnTo>
                  <a:pt x="0" y="260429"/>
                </a:lnTo>
                <a:cubicBezTo>
                  <a:pt x="0" y="260429"/>
                  <a:pt x="403913" y="930926"/>
                  <a:pt x="891656" y="534723"/>
                </a:cubicBezTo>
                <a:cubicBezTo>
                  <a:pt x="1379400" y="138521"/>
                  <a:pt x="1729965" y="-295779"/>
                  <a:pt x="2774042" y="428054"/>
                </a:cubicBezTo>
                <a:cubicBezTo>
                  <a:pt x="3467552" y="908068"/>
                  <a:pt x="3717139" y="-377686"/>
                  <a:pt x="4504007" y="428054"/>
                </a:cubicBezTo>
                <a:cubicBezTo>
                  <a:pt x="5182276" y="1121408"/>
                  <a:pt x="6394013" y="481388"/>
                  <a:pt x="6394013" y="481388"/>
                </a:cubicBezTo>
                <a:cubicBezTo>
                  <a:pt x="6394013" y="481388"/>
                  <a:pt x="7354258" y="-303398"/>
                  <a:pt x="8352608" y="412815"/>
                </a:cubicBezTo>
                <a:cubicBezTo>
                  <a:pt x="9524335" y="1252841"/>
                  <a:pt x="10997092" y="138521"/>
                  <a:pt x="10997092" y="138521"/>
                </a:cubicBezTo>
                <a:cubicBezTo>
                  <a:pt x="10997092" y="138521"/>
                  <a:pt x="11209289" y="-6127"/>
                  <a:pt x="11488551" y="202"/>
                </a:cubicBezTo>
                <a:close/>
              </a:path>
            </a:pathLst>
          </a:custGeom>
          <a:gradFill>
            <a:gsLst>
              <a:gs pos="13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1012" name="任意多边形: 形状 1011">
            <a:extLst>
              <a:ext uri="{FF2B5EF4-FFF2-40B4-BE49-F238E27FC236}">
                <a16:creationId xmlns:a16="http://schemas.microsoft.com/office/drawing/2014/main" id="{9597C813-7CC1-46B3-949D-E91B2C11BAA1}"/>
              </a:ext>
            </a:extLst>
          </p:cNvPr>
          <p:cNvSpPr/>
          <p:nvPr userDrawn="1"/>
        </p:nvSpPr>
        <p:spPr bwMode="auto">
          <a:xfrm>
            <a:off x="1026638" y="1766898"/>
            <a:ext cx="509179" cy="509179"/>
          </a:xfrm>
          <a:custGeom>
            <a:avLst/>
            <a:gdLst>
              <a:gd name="T0" fmla="*/ 126 w 136"/>
              <a:gd name="T1" fmla="*/ 50 h 136"/>
              <a:gd name="T2" fmla="*/ 86 w 136"/>
              <a:gd name="T3" fmla="*/ 126 h 136"/>
              <a:gd name="T4" fmla="*/ 10 w 136"/>
              <a:gd name="T5" fmla="*/ 86 h 136"/>
              <a:gd name="T6" fmla="*/ 50 w 136"/>
              <a:gd name="T7" fmla="*/ 10 h 136"/>
              <a:gd name="T8" fmla="*/ 126 w 136"/>
              <a:gd name="T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136">
                <a:moveTo>
                  <a:pt x="126" y="50"/>
                </a:moveTo>
                <a:cubicBezTo>
                  <a:pt x="136" y="82"/>
                  <a:pt x="118" y="116"/>
                  <a:pt x="86" y="126"/>
                </a:cubicBezTo>
                <a:cubicBezTo>
                  <a:pt x="54" y="136"/>
                  <a:pt x="20" y="118"/>
                  <a:pt x="10" y="86"/>
                </a:cubicBezTo>
                <a:cubicBezTo>
                  <a:pt x="0" y="54"/>
                  <a:pt x="18" y="20"/>
                  <a:pt x="50" y="10"/>
                </a:cubicBezTo>
                <a:cubicBezTo>
                  <a:pt x="82" y="0"/>
                  <a:pt x="116" y="18"/>
                  <a:pt x="126" y="50"/>
                </a:cubicBezTo>
                <a:close/>
              </a:path>
            </a:pathLst>
          </a:custGeom>
          <a:solidFill>
            <a:srgbClr val="FD601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3" name="任意多边形: 形状 1012">
            <a:extLst>
              <a:ext uri="{FF2B5EF4-FFF2-40B4-BE49-F238E27FC236}">
                <a16:creationId xmlns:a16="http://schemas.microsoft.com/office/drawing/2014/main" id="{80B2DD2F-C041-439A-8F14-9EEB3801D0CE}"/>
              </a:ext>
            </a:extLst>
          </p:cNvPr>
          <p:cNvSpPr/>
          <p:nvPr userDrawn="1"/>
        </p:nvSpPr>
        <p:spPr bwMode="auto">
          <a:xfrm>
            <a:off x="1138752" y="1882125"/>
            <a:ext cx="258481" cy="263154"/>
          </a:xfrm>
          <a:custGeom>
            <a:avLst/>
            <a:gdLst>
              <a:gd name="T0" fmla="*/ 44 w 69"/>
              <a:gd name="T1" fmla="*/ 5 h 70"/>
              <a:gd name="T2" fmla="*/ 35 w 69"/>
              <a:gd name="T3" fmla="*/ 23 h 70"/>
              <a:gd name="T4" fmla="*/ 32 w 69"/>
              <a:gd name="T5" fmla="*/ 24 h 70"/>
              <a:gd name="T6" fmla="*/ 14 w 69"/>
              <a:gd name="T7" fmla="*/ 14 h 70"/>
              <a:gd name="T8" fmla="*/ 7 w 69"/>
              <a:gd name="T9" fmla="*/ 45 h 70"/>
              <a:gd name="T10" fmla="*/ 48 w 69"/>
              <a:gd name="T11" fmla="*/ 70 h 70"/>
              <a:gd name="T12" fmla="*/ 68 w 69"/>
              <a:gd name="T13" fmla="*/ 26 h 70"/>
              <a:gd name="T14" fmla="*/ 44 w 69"/>
              <a:gd name="T15" fmla="*/ 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9" h="70">
                <a:moveTo>
                  <a:pt x="44" y="5"/>
                </a:moveTo>
                <a:cubicBezTo>
                  <a:pt x="36" y="7"/>
                  <a:pt x="35" y="16"/>
                  <a:pt x="35" y="23"/>
                </a:cubicBezTo>
                <a:cubicBezTo>
                  <a:pt x="35" y="25"/>
                  <a:pt x="33" y="25"/>
                  <a:pt x="32" y="24"/>
                </a:cubicBezTo>
                <a:cubicBezTo>
                  <a:pt x="29" y="18"/>
                  <a:pt x="22" y="12"/>
                  <a:pt x="14" y="14"/>
                </a:cubicBezTo>
                <a:cubicBezTo>
                  <a:pt x="0" y="19"/>
                  <a:pt x="0" y="36"/>
                  <a:pt x="7" y="45"/>
                </a:cubicBezTo>
                <a:cubicBezTo>
                  <a:pt x="13" y="54"/>
                  <a:pt x="48" y="70"/>
                  <a:pt x="48" y="70"/>
                </a:cubicBezTo>
                <a:cubicBezTo>
                  <a:pt x="48" y="70"/>
                  <a:pt x="67" y="37"/>
                  <a:pt x="68" y="26"/>
                </a:cubicBezTo>
                <a:cubicBezTo>
                  <a:pt x="69" y="15"/>
                  <a:pt x="59" y="0"/>
                  <a:pt x="44" y="5"/>
                </a:cubicBezTo>
                <a:close/>
              </a:path>
            </a:pathLst>
          </a:custGeom>
          <a:solidFill>
            <a:srgbClr val="EFEF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4" name="任意多边形: 形状 1013">
            <a:extLst>
              <a:ext uri="{FF2B5EF4-FFF2-40B4-BE49-F238E27FC236}">
                <a16:creationId xmlns:a16="http://schemas.microsoft.com/office/drawing/2014/main" id="{481212BE-1A20-40F1-9C1A-6CE8628A970E}"/>
              </a:ext>
            </a:extLst>
          </p:cNvPr>
          <p:cNvSpPr/>
          <p:nvPr userDrawn="1"/>
        </p:nvSpPr>
        <p:spPr bwMode="auto">
          <a:xfrm>
            <a:off x="1842571" y="1271734"/>
            <a:ext cx="1606949" cy="348795"/>
          </a:xfrm>
          <a:custGeom>
            <a:avLst/>
            <a:gdLst>
              <a:gd name="T0" fmla="*/ 409 w 429"/>
              <a:gd name="T1" fmla="*/ 91 h 93"/>
              <a:gd name="T2" fmla="*/ 25 w 429"/>
              <a:gd name="T3" fmla="*/ 93 h 93"/>
              <a:gd name="T4" fmla="*/ 2 w 429"/>
              <a:gd name="T5" fmla="*/ 69 h 93"/>
              <a:gd name="T6" fmla="*/ 1 w 429"/>
              <a:gd name="T7" fmla="*/ 30 h 93"/>
              <a:gd name="T8" fmla="*/ 29 w 429"/>
              <a:gd name="T9" fmla="*/ 0 h 93"/>
              <a:gd name="T10" fmla="*/ 410 w 429"/>
              <a:gd name="T11" fmla="*/ 0 h 93"/>
              <a:gd name="T12" fmla="*/ 429 w 429"/>
              <a:gd name="T13" fmla="*/ 19 h 93"/>
              <a:gd name="T14" fmla="*/ 428 w 429"/>
              <a:gd name="T15" fmla="*/ 71 h 93"/>
              <a:gd name="T16" fmla="*/ 409 w 429"/>
              <a:gd name="T17" fmla="*/ 9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9" h="93">
                <a:moveTo>
                  <a:pt x="409" y="91"/>
                </a:moveTo>
                <a:cubicBezTo>
                  <a:pt x="25" y="93"/>
                  <a:pt x="25" y="93"/>
                  <a:pt x="25" y="93"/>
                </a:cubicBezTo>
                <a:cubicBezTo>
                  <a:pt x="12" y="93"/>
                  <a:pt x="2" y="82"/>
                  <a:pt x="2" y="69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14"/>
                  <a:pt x="13" y="0"/>
                  <a:pt x="29" y="0"/>
                </a:cubicBezTo>
                <a:cubicBezTo>
                  <a:pt x="410" y="0"/>
                  <a:pt x="410" y="0"/>
                  <a:pt x="410" y="0"/>
                </a:cubicBezTo>
                <a:cubicBezTo>
                  <a:pt x="421" y="0"/>
                  <a:pt x="429" y="8"/>
                  <a:pt x="429" y="19"/>
                </a:cubicBezTo>
                <a:cubicBezTo>
                  <a:pt x="428" y="71"/>
                  <a:pt x="428" y="71"/>
                  <a:pt x="428" y="71"/>
                </a:cubicBezTo>
                <a:cubicBezTo>
                  <a:pt x="428" y="82"/>
                  <a:pt x="420" y="91"/>
                  <a:pt x="409" y="91"/>
                </a:cubicBezTo>
                <a:close/>
              </a:path>
            </a:pathLst>
          </a:custGeom>
          <a:solidFill>
            <a:srgbClr val="6DB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5" name="任意多边形: 形状 1014">
            <a:extLst>
              <a:ext uri="{FF2B5EF4-FFF2-40B4-BE49-F238E27FC236}">
                <a16:creationId xmlns:a16="http://schemas.microsoft.com/office/drawing/2014/main" id="{BE611760-5817-46AA-A2FA-42923E6DA2CB}"/>
              </a:ext>
            </a:extLst>
          </p:cNvPr>
          <p:cNvSpPr/>
          <p:nvPr userDrawn="1"/>
        </p:nvSpPr>
        <p:spPr bwMode="auto">
          <a:xfrm>
            <a:off x="3236194" y="1598730"/>
            <a:ext cx="127683" cy="141699"/>
          </a:xfrm>
          <a:custGeom>
            <a:avLst/>
            <a:gdLst>
              <a:gd name="T0" fmla="*/ 0 w 34"/>
              <a:gd name="T1" fmla="*/ 0 h 38"/>
              <a:gd name="T2" fmla="*/ 32 w 34"/>
              <a:gd name="T3" fmla="*/ 38 h 38"/>
              <a:gd name="T4" fmla="*/ 34 w 34"/>
              <a:gd name="T5" fmla="*/ 1 h 38"/>
              <a:gd name="T6" fmla="*/ 0 w 34"/>
              <a:gd name="T7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38">
                <a:moveTo>
                  <a:pt x="0" y="0"/>
                </a:moveTo>
                <a:cubicBezTo>
                  <a:pt x="0" y="0"/>
                  <a:pt x="32" y="38"/>
                  <a:pt x="32" y="38"/>
                </a:cubicBezTo>
                <a:cubicBezTo>
                  <a:pt x="32" y="38"/>
                  <a:pt x="34" y="1"/>
                  <a:pt x="34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6DB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6" name="任意多边形: 形状 1015">
            <a:extLst>
              <a:ext uri="{FF2B5EF4-FFF2-40B4-BE49-F238E27FC236}">
                <a16:creationId xmlns:a16="http://schemas.microsoft.com/office/drawing/2014/main" id="{50CFDB79-4F73-4E85-B364-99D07ED5F0BB}"/>
              </a:ext>
            </a:extLst>
          </p:cNvPr>
          <p:cNvSpPr/>
          <p:nvPr userDrawn="1"/>
        </p:nvSpPr>
        <p:spPr bwMode="auto">
          <a:xfrm>
            <a:off x="1954683" y="1377618"/>
            <a:ext cx="1367151" cy="51386"/>
          </a:xfrm>
          <a:custGeom>
            <a:avLst/>
            <a:gdLst>
              <a:gd name="T0" fmla="*/ 364 w 365"/>
              <a:gd name="T1" fmla="*/ 5 h 14"/>
              <a:gd name="T2" fmla="*/ 358 w 365"/>
              <a:gd name="T3" fmla="*/ 13 h 14"/>
              <a:gd name="T4" fmla="*/ 353 w 365"/>
              <a:gd name="T5" fmla="*/ 13 h 14"/>
              <a:gd name="T6" fmla="*/ 5 w 365"/>
              <a:gd name="T7" fmla="*/ 14 h 14"/>
              <a:gd name="T8" fmla="*/ 0 w 365"/>
              <a:gd name="T9" fmla="*/ 9 h 14"/>
              <a:gd name="T10" fmla="*/ 5 w 365"/>
              <a:gd name="T11" fmla="*/ 3 h 14"/>
              <a:gd name="T12" fmla="*/ 352 w 365"/>
              <a:gd name="T13" fmla="*/ 0 h 14"/>
              <a:gd name="T14" fmla="*/ 364 w 365"/>
              <a:gd name="T15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5" h="14">
                <a:moveTo>
                  <a:pt x="364" y="5"/>
                </a:moveTo>
                <a:cubicBezTo>
                  <a:pt x="365" y="9"/>
                  <a:pt x="362" y="13"/>
                  <a:pt x="358" y="13"/>
                </a:cubicBezTo>
                <a:cubicBezTo>
                  <a:pt x="353" y="13"/>
                  <a:pt x="353" y="13"/>
                  <a:pt x="353" y="13"/>
                </a:cubicBezTo>
                <a:cubicBezTo>
                  <a:pt x="5" y="14"/>
                  <a:pt x="5" y="14"/>
                  <a:pt x="5" y="14"/>
                </a:cubicBezTo>
                <a:cubicBezTo>
                  <a:pt x="2" y="14"/>
                  <a:pt x="0" y="12"/>
                  <a:pt x="0" y="9"/>
                </a:cubicBezTo>
                <a:cubicBezTo>
                  <a:pt x="0" y="6"/>
                  <a:pt x="2" y="3"/>
                  <a:pt x="5" y="3"/>
                </a:cubicBezTo>
                <a:cubicBezTo>
                  <a:pt x="352" y="0"/>
                  <a:pt x="352" y="0"/>
                  <a:pt x="352" y="0"/>
                </a:cubicBezTo>
                <a:cubicBezTo>
                  <a:pt x="360" y="0"/>
                  <a:pt x="363" y="2"/>
                  <a:pt x="364" y="5"/>
                </a:cubicBezTo>
                <a:close/>
              </a:path>
            </a:pathLst>
          </a:custGeom>
          <a:solidFill>
            <a:srgbClr val="F1F1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7" name="任意多边形: 形状 1016">
            <a:extLst>
              <a:ext uri="{FF2B5EF4-FFF2-40B4-BE49-F238E27FC236}">
                <a16:creationId xmlns:a16="http://schemas.microsoft.com/office/drawing/2014/main" id="{D1197798-160F-440E-A398-EF1FDB86E5AC}"/>
              </a:ext>
            </a:extLst>
          </p:cNvPr>
          <p:cNvSpPr/>
          <p:nvPr userDrawn="1"/>
        </p:nvSpPr>
        <p:spPr bwMode="auto">
          <a:xfrm>
            <a:off x="1954683" y="1474159"/>
            <a:ext cx="577692" cy="45157"/>
          </a:xfrm>
          <a:custGeom>
            <a:avLst/>
            <a:gdLst>
              <a:gd name="T0" fmla="*/ 0 w 154"/>
              <a:gd name="T1" fmla="*/ 7 h 12"/>
              <a:gd name="T2" fmla="*/ 0 w 154"/>
              <a:gd name="T3" fmla="*/ 7 h 12"/>
              <a:gd name="T4" fmla="*/ 5 w 154"/>
              <a:gd name="T5" fmla="*/ 12 h 12"/>
              <a:gd name="T6" fmla="*/ 149 w 154"/>
              <a:gd name="T7" fmla="*/ 10 h 12"/>
              <a:gd name="T8" fmla="*/ 154 w 154"/>
              <a:gd name="T9" fmla="*/ 5 h 12"/>
              <a:gd name="T10" fmla="*/ 149 w 154"/>
              <a:gd name="T11" fmla="*/ 0 h 12"/>
              <a:gd name="T12" fmla="*/ 5 w 154"/>
              <a:gd name="T13" fmla="*/ 2 h 12"/>
              <a:gd name="T14" fmla="*/ 0 w 154"/>
              <a:gd name="T15" fmla="*/ 7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4" h="12">
                <a:moveTo>
                  <a:pt x="0" y="7"/>
                </a:moveTo>
                <a:cubicBezTo>
                  <a:pt x="0" y="7"/>
                  <a:pt x="0" y="7"/>
                  <a:pt x="0" y="7"/>
                </a:cubicBezTo>
                <a:cubicBezTo>
                  <a:pt x="0" y="10"/>
                  <a:pt x="2" y="12"/>
                  <a:pt x="5" y="12"/>
                </a:cubicBezTo>
                <a:cubicBezTo>
                  <a:pt x="149" y="10"/>
                  <a:pt x="149" y="10"/>
                  <a:pt x="149" y="10"/>
                </a:cubicBezTo>
                <a:cubicBezTo>
                  <a:pt x="152" y="10"/>
                  <a:pt x="154" y="8"/>
                  <a:pt x="154" y="5"/>
                </a:cubicBezTo>
                <a:cubicBezTo>
                  <a:pt x="154" y="2"/>
                  <a:pt x="152" y="0"/>
                  <a:pt x="149" y="0"/>
                </a:cubicBezTo>
                <a:cubicBezTo>
                  <a:pt x="5" y="2"/>
                  <a:pt x="5" y="2"/>
                  <a:pt x="5" y="2"/>
                </a:cubicBezTo>
                <a:cubicBezTo>
                  <a:pt x="2" y="2"/>
                  <a:pt x="0" y="4"/>
                  <a:pt x="0" y="7"/>
                </a:cubicBezTo>
                <a:close/>
              </a:path>
            </a:pathLst>
          </a:custGeom>
          <a:solidFill>
            <a:srgbClr val="F1F1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8" name="任意多边形: 形状 1017">
            <a:extLst>
              <a:ext uri="{FF2B5EF4-FFF2-40B4-BE49-F238E27FC236}">
                <a16:creationId xmlns:a16="http://schemas.microsoft.com/office/drawing/2014/main" id="{92AED6E7-3561-4415-BAE2-E2F1CA7E4EE2}"/>
              </a:ext>
            </a:extLst>
          </p:cNvPr>
          <p:cNvSpPr/>
          <p:nvPr userDrawn="1"/>
        </p:nvSpPr>
        <p:spPr bwMode="auto">
          <a:xfrm>
            <a:off x="5257336" y="1410318"/>
            <a:ext cx="484265" cy="482708"/>
          </a:xfrm>
          <a:custGeom>
            <a:avLst/>
            <a:gdLst>
              <a:gd name="T0" fmla="*/ 125 w 129"/>
              <a:gd name="T1" fmla="*/ 71 h 129"/>
              <a:gd name="T2" fmla="*/ 58 w 129"/>
              <a:gd name="T3" fmla="*/ 125 h 129"/>
              <a:gd name="T4" fmla="*/ 4 w 129"/>
              <a:gd name="T5" fmla="*/ 58 h 129"/>
              <a:gd name="T6" fmla="*/ 71 w 129"/>
              <a:gd name="T7" fmla="*/ 4 h 129"/>
              <a:gd name="T8" fmla="*/ 125 w 129"/>
              <a:gd name="T9" fmla="*/ 71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125" y="71"/>
                </a:moveTo>
                <a:cubicBezTo>
                  <a:pt x="122" y="105"/>
                  <a:pt x="92" y="129"/>
                  <a:pt x="58" y="125"/>
                </a:cubicBezTo>
                <a:cubicBezTo>
                  <a:pt x="24" y="122"/>
                  <a:pt x="0" y="92"/>
                  <a:pt x="4" y="58"/>
                </a:cubicBezTo>
                <a:cubicBezTo>
                  <a:pt x="7" y="24"/>
                  <a:pt x="38" y="0"/>
                  <a:pt x="71" y="4"/>
                </a:cubicBezTo>
                <a:cubicBezTo>
                  <a:pt x="105" y="8"/>
                  <a:pt x="129" y="38"/>
                  <a:pt x="125" y="71"/>
                </a:cubicBezTo>
                <a:close/>
              </a:path>
            </a:pathLst>
          </a:custGeom>
          <a:solidFill>
            <a:srgbClr val="FFBE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9" name="任意多边形: 形状 1018">
            <a:extLst>
              <a:ext uri="{FF2B5EF4-FFF2-40B4-BE49-F238E27FC236}">
                <a16:creationId xmlns:a16="http://schemas.microsoft.com/office/drawing/2014/main" id="{95B639C7-4C60-4338-BC1E-665B651FD557}"/>
              </a:ext>
            </a:extLst>
          </p:cNvPr>
          <p:cNvSpPr/>
          <p:nvPr userDrawn="1"/>
        </p:nvSpPr>
        <p:spPr bwMode="auto">
          <a:xfrm>
            <a:off x="5363221" y="1519316"/>
            <a:ext cx="272496" cy="269382"/>
          </a:xfrm>
          <a:custGeom>
            <a:avLst/>
            <a:gdLst>
              <a:gd name="T0" fmla="*/ 72 w 73"/>
              <a:gd name="T1" fmla="*/ 36 h 72"/>
              <a:gd name="T2" fmla="*/ 69 w 73"/>
              <a:gd name="T3" fmla="*/ 47 h 72"/>
              <a:gd name="T4" fmla="*/ 63 w 73"/>
              <a:gd name="T5" fmla="*/ 54 h 72"/>
              <a:gd name="T6" fmla="*/ 54 w 73"/>
              <a:gd name="T7" fmla="*/ 56 h 72"/>
              <a:gd name="T8" fmla="*/ 48 w 73"/>
              <a:gd name="T9" fmla="*/ 54 h 72"/>
              <a:gd name="T10" fmla="*/ 45 w 73"/>
              <a:gd name="T11" fmla="*/ 50 h 72"/>
              <a:gd name="T12" fmla="*/ 45 w 73"/>
              <a:gd name="T13" fmla="*/ 50 h 72"/>
              <a:gd name="T14" fmla="*/ 32 w 73"/>
              <a:gd name="T15" fmla="*/ 54 h 72"/>
              <a:gd name="T16" fmla="*/ 20 w 73"/>
              <a:gd name="T17" fmla="*/ 48 h 72"/>
              <a:gd name="T18" fmla="*/ 17 w 73"/>
              <a:gd name="T19" fmla="*/ 35 h 72"/>
              <a:gd name="T20" fmla="*/ 25 w 73"/>
              <a:gd name="T21" fmla="*/ 21 h 72"/>
              <a:gd name="T22" fmla="*/ 41 w 73"/>
              <a:gd name="T23" fmla="*/ 17 h 72"/>
              <a:gd name="T24" fmla="*/ 49 w 73"/>
              <a:gd name="T25" fmla="*/ 19 h 72"/>
              <a:gd name="T26" fmla="*/ 56 w 73"/>
              <a:gd name="T27" fmla="*/ 21 h 72"/>
              <a:gd name="T28" fmla="*/ 53 w 73"/>
              <a:gd name="T29" fmla="*/ 42 h 72"/>
              <a:gd name="T30" fmla="*/ 55 w 73"/>
              <a:gd name="T31" fmla="*/ 49 h 72"/>
              <a:gd name="T32" fmla="*/ 60 w 73"/>
              <a:gd name="T33" fmla="*/ 45 h 72"/>
              <a:gd name="T34" fmla="*/ 63 w 73"/>
              <a:gd name="T35" fmla="*/ 35 h 72"/>
              <a:gd name="T36" fmla="*/ 61 w 73"/>
              <a:gd name="T37" fmla="*/ 22 h 72"/>
              <a:gd name="T38" fmla="*/ 54 w 73"/>
              <a:gd name="T39" fmla="*/ 13 h 72"/>
              <a:gd name="T40" fmla="*/ 42 w 73"/>
              <a:gd name="T41" fmla="*/ 9 h 72"/>
              <a:gd name="T42" fmla="*/ 27 w 73"/>
              <a:gd name="T43" fmla="*/ 11 h 72"/>
              <a:gd name="T44" fmla="*/ 16 w 73"/>
              <a:gd name="T45" fmla="*/ 20 h 72"/>
              <a:gd name="T46" fmla="*/ 10 w 73"/>
              <a:gd name="T47" fmla="*/ 35 h 72"/>
              <a:gd name="T48" fmla="*/ 15 w 73"/>
              <a:gd name="T49" fmla="*/ 54 h 72"/>
              <a:gd name="T50" fmla="*/ 33 w 73"/>
              <a:gd name="T51" fmla="*/ 63 h 72"/>
              <a:gd name="T52" fmla="*/ 43 w 73"/>
              <a:gd name="T53" fmla="*/ 63 h 72"/>
              <a:gd name="T54" fmla="*/ 54 w 73"/>
              <a:gd name="T55" fmla="*/ 61 h 72"/>
              <a:gd name="T56" fmla="*/ 53 w 73"/>
              <a:gd name="T57" fmla="*/ 69 h 72"/>
              <a:gd name="T58" fmla="*/ 32 w 73"/>
              <a:gd name="T59" fmla="*/ 71 h 72"/>
              <a:gd name="T60" fmla="*/ 7 w 73"/>
              <a:gd name="T61" fmla="*/ 60 h 72"/>
              <a:gd name="T62" fmla="*/ 1 w 73"/>
              <a:gd name="T63" fmla="*/ 34 h 72"/>
              <a:gd name="T64" fmla="*/ 8 w 73"/>
              <a:gd name="T65" fmla="*/ 16 h 72"/>
              <a:gd name="T66" fmla="*/ 23 w 73"/>
              <a:gd name="T67" fmla="*/ 3 h 72"/>
              <a:gd name="T68" fmla="*/ 43 w 73"/>
              <a:gd name="T69" fmla="*/ 0 h 72"/>
              <a:gd name="T70" fmla="*/ 60 w 73"/>
              <a:gd name="T71" fmla="*/ 6 h 72"/>
              <a:gd name="T72" fmla="*/ 70 w 73"/>
              <a:gd name="T73" fmla="*/ 19 h 72"/>
              <a:gd name="T74" fmla="*/ 72 w 73"/>
              <a:gd name="T75" fmla="*/ 36 h 72"/>
              <a:gd name="T76" fmla="*/ 27 w 73"/>
              <a:gd name="T77" fmla="*/ 36 h 72"/>
              <a:gd name="T78" fmla="*/ 34 w 73"/>
              <a:gd name="T79" fmla="*/ 46 h 72"/>
              <a:gd name="T80" fmla="*/ 40 w 73"/>
              <a:gd name="T81" fmla="*/ 44 h 72"/>
              <a:gd name="T82" fmla="*/ 44 w 73"/>
              <a:gd name="T83" fmla="*/ 35 h 72"/>
              <a:gd name="T84" fmla="*/ 45 w 73"/>
              <a:gd name="T85" fmla="*/ 26 h 72"/>
              <a:gd name="T86" fmla="*/ 40 w 73"/>
              <a:gd name="T87" fmla="*/ 25 h 72"/>
              <a:gd name="T88" fmla="*/ 31 w 73"/>
              <a:gd name="T89" fmla="*/ 27 h 72"/>
              <a:gd name="T90" fmla="*/ 27 w 73"/>
              <a:gd name="T91" fmla="*/ 3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3" h="72">
                <a:moveTo>
                  <a:pt x="72" y="36"/>
                </a:moveTo>
                <a:cubicBezTo>
                  <a:pt x="72" y="40"/>
                  <a:pt x="71" y="44"/>
                  <a:pt x="69" y="47"/>
                </a:cubicBezTo>
                <a:cubicBezTo>
                  <a:pt x="68" y="50"/>
                  <a:pt x="65" y="53"/>
                  <a:pt x="63" y="54"/>
                </a:cubicBezTo>
                <a:cubicBezTo>
                  <a:pt x="60" y="56"/>
                  <a:pt x="57" y="57"/>
                  <a:pt x="54" y="56"/>
                </a:cubicBezTo>
                <a:cubicBezTo>
                  <a:pt x="52" y="56"/>
                  <a:pt x="50" y="56"/>
                  <a:pt x="48" y="54"/>
                </a:cubicBezTo>
                <a:cubicBezTo>
                  <a:pt x="47" y="53"/>
                  <a:pt x="46" y="52"/>
                  <a:pt x="45" y="50"/>
                </a:cubicBezTo>
                <a:cubicBezTo>
                  <a:pt x="45" y="50"/>
                  <a:pt x="45" y="50"/>
                  <a:pt x="45" y="50"/>
                </a:cubicBezTo>
                <a:cubicBezTo>
                  <a:pt x="41" y="53"/>
                  <a:pt x="37" y="55"/>
                  <a:pt x="32" y="54"/>
                </a:cubicBezTo>
                <a:cubicBezTo>
                  <a:pt x="27" y="54"/>
                  <a:pt x="23" y="52"/>
                  <a:pt x="20" y="48"/>
                </a:cubicBezTo>
                <a:cubicBezTo>
                  <a:pt x="18" y="45"/>
                  <a:pt x="17" y="40"/>
                  <a:pt x="17" y="35"/>
                </a:cubicBezTo>
                <a:cubicBezTo>
                  <a:pt x="18" y="29"/>
                  <a:pt x="20" y="24"/>
                  <a:pt x="25" y="21"/>
                </a:cubicBezTo>
                <a:cubicBezTo>
                  <a:pt x="29" y="18"/>
                  <a:pt x="34" y="16"/>
                  <a:pt x="41" y="17"/>
                </a:cubicBezTo>
                <a:cubicBezTo>
                  <a:pt x="43" y="17"/>
                  <a:pt x="46" y="18"/>
                  <a:pt x="49" y="19"/>
                </a:cubicBezTo>
                <a:cubicBezTo>
                  <a:pt x="52" y="19"/>
                  <a:pt x="54" y="20"/>
                  <a:pt x="56" y="21"/>
                </a:cubicBezTo>
                <a:cubicBezTo>
                  <a:pt x="53" y="42"/>
                  <a:pt x="53" y="42"/>
                  <a:pt x="53" y="42"/>
                </a:cubicBezTo>
                <a:cubicBezTo>
                  <a:pt x="52" y="46"/>
                  <a:pt x="53" y="48"/>
                  <a:pt x="55" y="49"/>
                </a:cubicBezTo>
                <a:cubicBezTo>
                  <a:pt x="57" y="49"/>
                  <a:pt x="59" y="48"/>
                  <a:pt x="60" y="45"/>
                </a:cubicBezTo>
                <a:cubicBezTo>
                  <a:pt x="62" y="42"/>
                  <a:pt x="62" y="39"/>
                  <a:pt x="63" y="35"/>
                </a:cubicBezTo>
                <a:cubicBezTo>
                  <a:pt x="63" y="30"/>
                  <a:pt x="63" y="26"/>
                  <a:pt x="61" y="22"/>
                </a:cubicBezTo>
                <a:cubicBezTo>
                  <a:pt x="60" y="18"/>
                  <a:pt x="57" y="15"/>
                  <a:pt x="54" y="13"/>
                </a:cubicBezTo>
                <a:cubicBezTo>
                  <a:pt x="51" y="11"/>
                  <a:pt x="47" y="9"/>
                  <a:pt x="42" y="9"/>
                </a:cubicBezTo>
                <a:cubicBezTo>
                  <a:pt x="37" y="8"/>
                  <a:pt x="31" y="9"/>
                  <a:pt x="27" y="11"/>
                </a:cubicBezTo>
                <a:cubicBezTo>
                  <a:pt x="22" y="13"/>
                  <a:pt x="18" y="16"/>
                  <a:pt x="16" y="20"/>
                </a:cubicBezTo>
                <a:cubicBezTo>
                  <a:pt x="13" y="24"/>
                  <a:pt x="11" y="29"/>
                  <a:pt x="10" y="35"/>
                </a:cubicBezTo>
                <a:cubicBezTo>
                  <a:pt x="10" y="43"/>
                  <a:pt x="11" y="50"/>
                  <a:pt x="15" y="54"/>
                </a:cubicBezTo>
                <a:cubicBezTo>
                  <a:pt x="19" y="59"/>
                  <a:pt x="25" y="62"/>
                  <a:pt x="33" y="63"/>
                </a:cubicBezTo>
                <a:cubicBezTo>
                  <a:pt x="36" y="63"/>
                  <a:pt x="39" y="63"/>
                  <a:pt x="43" y="63"/>
                </a:cubicBezTo>
                <a:cubicBezTo>
                  <a:pt x="47" y="63"/>
                  <a:pt x="50" y="62"/>
                  <a:pt x="54" y="61"/>
                </a:cubicBezTo>
                <a:cubicBezTo>
                  <a:pt x="53" y="69"/>
                  <a:pt x="53" y="69"/>
                  <a:pt x="53" y="69"/>
                </a:cubicBezTo>
                <a:cubicBezTo>
                  <a:pt x="47" y="71"/>
                  <a:pt x="40" y="72"/>
                  <a:pt x="32" y="71"/>
                </a:cubicBezTo>
                <a:cubicBezTo>
                  <a:pt x="21" y="70"/>
                  <a:pt x="13" y="66"/>
                  <a:pt x="7" y="60"/>
                </a:cubicBezTo>
                <a:cubicBezTo>
                  <a:pt x="2" y="53"/>
                  <a:pt x="0" y="45"/>
                  <a:pt x="1" y="34"/>
                </a:cubicBezTo>
                <a:cubicBezTo>
                  <a:pt x="2" y="27"/>
                  <a:pt x="4" y="21"/>
                  <a:pt x="8" y="16"/>
                </a:cubicBezTo>
                <a:cubicBezTo>
                  <a:pt x="11" y="10"/>
                  <a:pt x="16" y="6"/>
                  <a:pt x="23" y="3"/>
                </a:cubicBezTo>
                <a:cubicBezTo>
                  <a:pt x="29" y="1"/>
                  <a:pt x="36" y="0"/>
                  <a:pt x="43" y="0"/>
                </a:cubicBezTo>
                <a:cubicBezTo>
                  <a:pt x="50" y="1"/>
                  <a:pt x="55" y="3"/>
                  <a:pt x="60" y="6"/>
                </a:cubicBezTo>
                <a:cubicBezTo>
                  <a:pt x="65" y="9"/>
                  <a:pt x="68" y="14"/>
                  <a:pt x="70" y="19"/>
                </a:cubicBezTo>
                <a:cubicBezTo>
                  <a:pt x="72" y="24"/>
                  <a:pt x="73" y="29"/>
                  <a:pt x="72" y="36"/>
                </a:cubicBezTo>
                <a:close/>
                <a:moveTo>
                  <a:pt x="27" y="36"/>
                </a:moveTo>
                <a:cubicBezTo>
                  <a:pt x="27" y="42"/>
                  <a:pt x="29" y="46"/>
                  <a:pt x="34" y="46"/>
                </a:cubicBezTo>
                <a:cubicBezTo>
                  <a:pt x="36" y="47"/>
                  <a:pt x="39" y="46"/>
                  <a:pt x="40" y="44"/>
                </a:cubicBezTo>
                <a:cubicBezTo>
                  <a:pt x="42" y="42"/>
                  <a:pt x="43" y="40"/>
                  <a:pt x="44" y="35"/>
                </a:cubicBezTo>
                <a:cubicBezTo>
                  <a:pt x="45" y="26"/>
                  <a:pt x="45" y="26"/>
                  <a:pt x="45" y="26"/>
                </a:cubicBezTo>
                <a:cubicBezTo>
                  <a:pt x="44" y="25"/>
                  <a:pt x="42" y="25"/>
                  <a:pt x="40" y="25"/>
                </a:cubicBezTo>
                <a:cubicBezTo>
                  <a:pt x="37" y="25"/>
                  <a:pt x="34" y="25"/>
                  <a:pt x="31" y="27"/>
                </a:cubicBezTo>
                <a:cubicBezTo>
                  <a:pt x="29" y="29"/>
                  <a:pt x="28" y="32"/>
                  <a:pt x="27" y="3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0" name="任意多边形: 形状 1019">
            <a:extLst>
              <a:ext uri="{FF2B5EF4-FFF2-40B4-BE49-F238E27FC236}">
                <a16:creationId xmlns:a16="http://schemas.microsoft.com/office/drawing/2014/main" id="{38AA00F0-FE7E-4B7B-92E3-31CC4DEB2EB8}"/>
              </a:ext>
            </a:extLst>
          </p:cNvPr>
          <p:cNvSpPr/>
          <p:nvPr userDrawn="1"/>
        </p:nvSpPr>
        <p:spPr bwMode="auto">
          <a:xfrm>
            <a:off x="4206279" y="1580044"/>
            <a:ext cx="591706" cy="355023"/>
          </a:xfrm>
          <a:custGeom>
            <a:avLst/>
            <a:gdLst>
              <a:gd name="T0" fmla="*/ 102 w 158"/>
              <a:gd name="T1" fmla="*/ 94 h 95"/>
              <a:gd name="T2" fmla="*/ 44 w 158"/>
              <a:gd name="T3" fmla="*/ 92 h 95"/>
              <a:gd name="T4" fmla="*/ 1 w 158"/>
              <a:gd name="T5" fmla="*/ 46 h 95"/>
              <a:gd name="T6" fmla="*/ 51 w 158"/>
              <a:gd name="T7" fmla="*/ 2 h 95"/>
              <a:gd name="T8" fmla="*/ 123 w 158"/>
              <a:gd name="T9" fmla="*/ 6 h 95"/>
              <a:gd name="T10" fmla="*/ 156 w 158"/>
              <a:gd name="T11" fmla="*/ 45 h 95"/>
              <a:gd name="T12" fmla="*/ 102 w 158"/>
              <a:gd name="T13" fmla="*/ 9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" h="95">
                <a:moveTo>
                  <a:pt x="102" y="94"/>
                </a:moveTo>
                <a:cubicBezTo>
                  <a:pt x="44" y="92"/>
                  <a:pt x="44" y="92"/>
                  <a:pt x="44" y="92"/>
                </a:cubicBezTo>
                <a:cubicBezTo>
                  <a:pt x="19" y="92"/>
                  <a:pt x="0" y="71"/>
                  <a:pt x="1" y="46"/>
                </a:cubicBezTo>
                <a:cubicBezTo>
                  <a:pt x="3" y="20"/>
                  <a:pt x="25" y="0"/>
                  <a:pt x="51" y="2"/>
                </a:cubicBezTo>
                <a:cubicBezTo>
                  <a:pt x="123" y="6"/>
                  <a:pt x="123" y="6"/>
                  <a:pt x="123" y="6"/>
                </a:cubicBezTo>
                <a:cubicBezTo>
                  <a:pt x="143" y="7"/>
                  <a:pt x="158" y="25"/>
                  <a:pt x="156" y="45"/>
                </a:cubicBezTo>
                <a:cubicBezTo>
                  <a:pt x="154" y="73"/>
                  <a:pt x="130" y="95"/>
                  <a:pt x="102" y="94"/>
                </a:cubicBezTo>
                <a:close/>
              </a:path>
            </a:pathLst>
          </a:custGeom>
          <a:solidFill>
            <a:srgbClr val="1A4DAA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1" name="任意多边形: 形状 1020">
            <a:extLst>
              <a:ext uri="{FF2B5EF4-FFF2-40B4-BE49-F238E27FC236}">
                <a16:creationId xmlns:a16="http://schemas.microsoft.com/office/drawing/2014/main" id="{462C3879-8E96-4287-8C89-3E79CCDD32F5}"/>
              </a:ext>
            </a:extLst>
          </p:cNvPr>
          <p:cNvSpPr/>
          <p:nvPr userDrawn="1"/>
        </p:nvSpPr>
        <p:spPr bwMode="auto">
          <a:xfrm>
            <a:off x="4238980" y="1905482"/>
            <a:ext cx="221111" cy="138584"/>
          </a:xfrm>
          <a:custGeom>
            <a:avLst/>
            <a:gdLst>
              <a:gd name="T0" fmla="*/ 44 w 142"/>
              <a:gd name="T1" fmla="*/ 0 h 89"/>
              <a:gd name="T2" fmla="*/ 0 w 142"/>
              <a:gd name="T3" fmla="*/ 89 h 89"/>
              <a:gd name="T4" fmla="*/ 142 w 142"/>
              <a:gd name="T5" fmla="*/ 0 h 89"/>
              <a:gd name="T6" fmla="*/ 44 w 142"/>
              <a:gd name="T7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2" h="89">
                <a:moveTo>
                  <a:pt x="44" y="0"/>
                </a:moveTo>
                <a:lnTo>
                  <a:pt x="0" y="89"/>
                </a:lnTo>
                <a:lnTo>
                  <a:pt x="142" y="0"/>
                </a:lnTo>
                <a:lnTo>
                  <a:pt x="44" y="0"/>
                </a:lnTo>
                <a:close/>
              </a:path>
            </a:pathLst>
          </a:custGeom>
          <a:solidFill>
            <a:srgbClr val="1A4DAA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2" name="椭圆 1021">
            <a:extLst>
              <a:ext uri="{FF2B5EF4-FFF2-40B4-BE49-F238E27FC236}">
                <a16:creationId xmlns:a16="http://schemas.microsoft.com/office/drawing/2014/main" id="{51A7E685-27A3-45C6-87AD-39D060198E46}"/>
              </a:ext>
            </a:extLst>
          </p:cNvPr>
          <p:cNvSpPr/>
          <p:nvPr userDrawn="1"/>
        </p:nvSpPr>
        <p:spPr bwMode="auto">
          <a:xfrm>
            <a:off x="4475661" y="1713956"/>
            <a:ext cx="77856" cy="7474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3" name="椭圆 1022">
            <a:extLst>
              <a:ext uri="{FF2B5EF4-FFF2-40B4-BE49-F238E27FC236}">
                <a16:creationId xmlns:a16="http://schemas.microsoft.com/office/drawing/2014/main" id="{4212E01E-3E40-46FF-8FDB-4FAD1C50013A}"/>
              </a:ext>
            </a:extLst>
          </p:cNvPr>
          <p:cNvSpPr/>
          <p:nvPr userDrawn="1"/>
        </p:nvSpPr>
        <p:spPr bwMode="auto">
          <a:xfrm>
            <a:off x="4332407" y="1713956"/>
            <a:ext cx="79413" cy="7474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4" name="椭圆 1023">
            <a:extLst>
              <a:ext uri="{FF2B5EF4-FFF2-40B4-BE49-F238E27FC236}">
                <a16:creationId xmlns:a16="http://schemas.microsoft.com/office/drawing/2014/main" id="{02281630-B5D0-4C2B-809B-F099615C63E6}"/>
              </a:ext>
            </a:extLst>
          </p:cNvPr>
          <p:cNvSpPr/>
          <p:nvPr userDrawn="1"/>
        </p:nvSpPr>
        <p:spPr bwMode="auto">
          <a:xfrm>
            <a:off x="4617359" y="1713956"/>
            <a:ext cx="74742" cy="7474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5" name="任意多边形: 形状 1024">
            <a:extLst>
              <a:ext uri="{FF2B5EF4-FFF2-40B4-BE49-F238E27FC236}">
                <a16:creationId xmlns:a16="http://schemas.microsoft.com/office/drawing/2014/main" id="{7A72EA0B-5D1E-49F8-9C45-326811113B63}"/>
              </a:ext>
            </a:extLst>
          </p:cNvPr>
          <p:cNvSpPr/>
          <p:nvPr userDrawn="1"/>
        </p:nvSpPr>
        <p:spPr bwMode="auto">
          <a:xfrm>
            <a:off x="1584088" y="2199900"/>
            <a:ext cx="3816503" cy="2709390"/>
          </a:xfrm>
          <a:custGeom>
            <a:avLst/>
            <a:gdLst>
              <a:gd name="T0" fmla="*/ 974 w 1019"/>
              <a:gd name="T1" fmla="*/ 724 h 724"/>
              <a:gd name="T2" fmla="*/ 46 w 1019"/>
              <a:gd name="T3" fmla="*/ 724 h 724"/>
              <a:gd name="T4" fmla="*/ 0 w 1019"/>
              <a:gd name="T5" fmla="*/ 679 h 724"/>
              <a:gd name="T6" fmla="*/ 0 w 1019"/>
              <a:gd name="T7" fmla="*/ 46 h 724"/>
              <a:gd name="T8" fmla="*/ 46 w 1019"/>
              <a:gd name="T9" fmla="*/ 0 h 724"/>
              <a:gd name="T10" fmla="*/ 974 w 1019"/>
              <a:gd name="T11" fmla="*/ 0 h 724"/>
              <a:gd name="T12" fmla="*/ 1019 w 1019"/>
              <a:gd name="T13" fmla="*/ 46 h 724"/>
              <a:gd name="T14" fmla="*/ 1019 w 1019"/>
              <a:gd name="T15" fmla="*/ 679 h 724"/>
              <a:gd name="T16" fmla="*/ 974 w 1019"/>
              <a:gd name="T17" fmla="*/ 724 h 7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9" h="724">
                <a:moveTo>
                  <a:pt x="974" y="724"/>
                </a:moveTo>
                <a:cubicBezTo>
                  <a:pt x="46" y="724"/>
                  <a:pt x="46" y="724"/>
                  <a:pt x="46" y="724"/>
                </a:cubicBezTo>
                <a:cubicBezTo>
                  <a:pt x="21" y="724"/>
                  <a:pt x="0" y="704"/>
                  <a:pt x="0" y="679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20"/>
                  <a:pt x="21" y="0"/>
                  <a:pt x="46" y="0"/>
                </a:cubicBezTo>
                <a:cubicBezTo>
                  <a:pt x="974" y="0"/>
                  <a:pt x="974" y="0"/>
                  <a:pt x="974" y="0"/>
                </a:cubicBezTo>
                <a:cubicBezTo>
                  <a:pt x="999" y="0"/>
                  <a:pt x="1019" y="20"/>
                  <a:pt x="1019" y="46"/>
                </a:cubicBezTo>
                <a:cubicBezTo>
                  <a:pt x="1019" y="679"/>
                  <a:pt x="1019" y="679"/>
                  <a:pt x="1019" y="679"/>
                </a:cubicBezTo>
                <a:cubicBezTo>
                  <a:pt x="1019" y="704"/>
                  <a:pt x="999" y="724"/>
                  <a:pt x="974" y="724"/>
                </a:cubicBezTo>
              </a:path>
            </a:pathLst>
          </a:custGeom>
          <a:solidFill>
            <a:srgbClr val="E3EA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6" name="任意多边形: 形状 1025">
            <a:extLst>
              <a:ext uri="{FF2B5EF4-FFF2-40B4-BE49-F238E27FC236}">
                <a16:creationId xmlns:a16="http://schemas.microsoft.com/office/drawing/2014/main" id="{2EC2890C-CA99-4F9F-B698-99004105E78C}"/>
              </a:ext>
            </a:extLst>
          </p:cNvPr>
          <p:cNvSpPr/>
          <p:nvPr userDrawn="1"/>
        </p:nvSpPr>
        <p:spPr bwMode="auto">
          <a:xfrm>
            <a:off x="1637031" y="2232599"/>
            <a:ext cx="3713733" cy="2642434"/>
          </a:xfrm>
          <a:custGeom>
            <a:avLst/>
            <a:gdLst>
              <a:gd name="T0" fmla="*/ 956 w 992"/>
              <a:gd name="T1" fmla="*/ 706 h 706"/>
              <a:gd name="T2" fmla="*/ 36 w 992"/>
              <a:gd name="T3" fmla="*/ 706 h 706"/>
              <a:gd name="T4" fmla="*/ 0 w 992"/>
              <a:gd name="T5" fmla="*/ 669 h 706"/>
              <a:gd name="T6" fmla="*/ 0 w 992"/>
              <a:gd name="T7" fmla="*/ 37 h 706"/>
              <a:gd name="T8" fmla="*/ 36 w 992"/>
              <a:gd name="T9" fmla="*/ 0 h 706"/>
              <a:gd name="T10" fmla="*/ 956 w 992"/>
              <a:gd name="T11" fmla="*/ 0 h 706"/>
              <a:gd name="T12" fmla="*/ 992 w 992"/>
              <a:gd name="T13" fmla="*/ 37 h 706"/>
              <a:gd name="T14" fmla="*/ 992 w 992"/>
              <a:gd name="T15" fmla="*/ 669 h 706"/>
              <a:gd name="T16" fmla="*/ 956 w 992"/>
              <a:gd name="T17" fmla="*/ 706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706">
                <a:moveTo>
                  <a:pt x="956" y="706"/>
                </a:moveTo>
                <a:cubicBezTo>
                  <a:pt x="36" y="706"/>
                  <a:pt x="36" y="706"/>
                  <a:pt x="36" y="706"/>
                </a:cubicBezTo>
                <a:cubicBezTo>
                  <a:pt x="16" y="706"/>
                  <a:pt x="0" y="689"/>
                  <a:pt x="0" y="669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7"/>
                  <a:pt x="16" y="0"/>
                  <a:pt x="36" y="0"/>
                </a:cubicBezTo>
                <a:cubicBezTo>
                  <a:pt x="956" y="0"/>
                  <a:pt x="956" y="0"/>
                  <a:pt x="956" y="0"/>
                </a:cubicBezTo>
                <a:cubicBezTo>
                  <a:pt x="976" y="0"/>
                  <a:pt x="992" y="17"/>
                  <a:pt x="992" y="37"/>
                </a:cubicBezTo>
                <a:cubicBezTo>
                  <a:pt x="992" y="669"/>
                  <a:pt x="992" y="669"/>
                  <a:pt x="992" y="669"/>
                </a:cubicBezTo>
                <a:cubicBezTo>
                  <a:pt x="992" y="689"/>
                  <a:pt x="976" y="706"/>
                  <a:pt x="956" y="706"/>
                </a:cubicBezTo>
              </a:path>
            </a:pathLst>
          </a:custGeom>
          <a:solidFill>
            <a:srgbClr val="769FEA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7" name="任意多边形: 形状 1026">
            <a:extLst>
              <a:ext uri="{FF2B5EF4-FFF2-40B4-BE49-F238E27FC236}">
                <a16:creationId xmlns:a16="http://schemas.microsoft.com/office/drawing/2014/main" id="{B56CAF0F-8D0D-4190-9005-6E6A883A1A46}"/>
              </a:ext>
            </a:extLst>
          </p:cNvPr>
          <p:cNvSpPr/>
          <p:nvPr userDrawn="1"/>
        </p:nvSpPr>
        <p:spPr bwMode="auto">
          <a:xfrm>
            <a:off x="1797414" y="2360284"/>
            <a:ext cx="3392967" cy="2279625"/>
          </a:xfrm>
          <a:custGeom>
            <a:avLst/>
            <a:gdLst>
              <a:gd name="T0" fmla="*/ 884 w 906"/>
              <a:gd name="T1" fmla="*/ 609 h 609"/>
              <a:gd name="T2" fmla="*/ 22 w 906"/>
              <a:gd name="T3" fmla="*/ 609 h 609"/>
              <a:gd name="T4" fmla="*/ 0 w 906"/>
              <a:gd name="T5" fmla="*/ 587 h 609"/>
              <a:gd name="T6" fmla="*/ 0 w 906"/>
              <a:gd name="T7" fmla="*/ 22 h 609"/>
              <a:gd name="T8" fmla="*/ 22 w 906"/>
              <a:gd name="T9" fmla="*/ 0 h 609"/>
              <a:gd name="T10" fmla="*/ 884 w 906"/>
              <a:gd name="T11" fmla="*/ 0 h 609"/>
              <a:gd name="T12" fmla="*/ 906 w 906"/>
              <a:gd name="T13" fmla="*/ 22 h 609"/>
              <a:gd name="T14" fmla="*/ 906 w 906"/>
              <a:gd name="T15" fmla="*/ 587 h 609"/>
              <a:gd name="T16" fmla="*/ 884 w 906"/>
              <a:gd name="T17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6" h="609">
                <a:moveTo>
                  <a:pt x="884" y="609"/>
                </a:moveTo>
                <a:cubicBezTo>
                  <a:pt x="22" y="609"/>
                  <a:pt x="22" y="609"/>
                  <a:pt x="22" y="609"/>
                </a:cubicBezTo>
                <a:cubicBezTo>
                  <a:pt x="9" y="609"/>
                  <a:pt x="0" y="599"/>
                  <a:pt x="0" y="587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2" y="0"/>
                </a:cubicBezTo>
                <a:cubicBezTo>
                  <a:pt x="884" y="0"/>
                  <a:pt x="884" y="0"/>
                  <a:pt x="884" y="0"/>
                </a:cubicBezTo>
                <a:cubicBezTo>
                  <a:pt x="896" y="0"/>
                  <a:pt x="906" y="10"/>
                  <a:pt x="906" y="22"/>
                </a:cubicBezTo>
                <a:cubicBezTo>
                  <a:pt x="906" y="587"/>
                  <a:pt x="906" y="587"/>
                  <a:pt x="906" y="587"/>
                </a:cubicBezTo>
                <a:cubicBezTo>
                  <a:pt x="906" y="599"/>
                  <a:pt x="896" y="609"/>
                  <a:pt x="884" y="609"/>
                </a:cubicBezTo>
              </a:path>
            </a:pathLst>
          </a:cu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8" name="椭圆 1027">
            <a:extLst>
              <a:ext uri="{FF2B5EF4-FFF2-40B4-BE49-F238E27FC236}">
                <a16:creationId xmlns:a16="http://schemas.microsoft.com/office/drawing/2014/main" id="{B6E4D382-33F7-4975-BF67-58384D601964}"/>
              </a:ext>
            </a:extLst>
          </p:cNvPr>
          <p:cNvSpPr/>
          <p:nvPr userDrawn="1"/>
        </p:nvSpPr>
        <p:spPr bwMode="auto">
          <a:xfrm>
            <a:off x="3412148" y="2269970"/>
            <a:ext cx="63842" cy="63842"/>
          </a:xfrm>
          <a:prstGeom prst="ellipse">
            <a:avLst/>
          </a:prstGeom>
          <a:solidFill>
            <a:srgbClr val="54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9" name="任意多边形: 形状 1028">
            <a:extLst>
              <a:ext uri="{FF2B5EF4-FFF2-40B4-BE49-F238E27FC236}">
                <a16:creationId xmlns:a16="http://schemas.microsoft.com/office/drawing/2014/main" id="{60CF91A2-3C2F-4BE8-ADFA-7676DAF4BB7A}"/>
              </a:ext>
            </a:extLst>
          </p:cNvPr>
          <p:cNvSpPr/>
          <p:nvPr userDrawn="1"/>
        </p:nvSpPr>
        <p:spPr bwMode="auto">
          <a:xfrm>
            <a:off x="1476647" y="4770707"/>
            <a:ext cx="4036057" cy="210211"/>
          </a:xfrm>
          <a:custGeom>
            <a:avLst/>
            <a:gdLst>
              <a:gd name="T0" fmla="*/ 4 w 1078"/>
              <a:gd name="T1" fmla="*/ 0 h 56"/>
              <a:gd name="T2" fmla="*/ 0 w 1078"/>
              <a:gd name="T3" fmla="*/ 18 h 56"/>
              <a:gd name="T4" fmla="*/ 38 w 1078"/>
              <a:gd name="T5" fmla="*/ 56 h 56"/>
              <a:gd name="T6" fmla="*/ 1040 w 1078"/>
              <a:gd name="T7" fmla="*/ 56 h 56"/>
              <a:gd name="T8" fmla="*/ 1078 w 1078"/>
              <a:gd name="T9" fmla="*/ 18 h 56"/>
              <a:gd name="T10" fmla="*/ 1073 w 1078"/>
              <a:gd name="T11" fmla="*/ 0 h 56"/>
              <a:gd name="T12" fmla="*/ 4 w 1078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8" h="56">
                <a:moveTo>
                  <a:pt x="4" y="0"/>
                </a:moveTo>
                <a:cubicBezTo>
                  <a:pt x="2" y="5"/>
                  <a:pt x="0" y="11"/>
                  <a:pt x="0" y="18"/>
                </a:cubicBezTo>
                <a:cubicBezTo>
                  <a:pt x="0" y="39"/>
                  <a:pt x="17" y="56"/>
                  <a:pt x="38" y="56"/>
                </a:cubicBezTo>
                <a:cubicBezTo>
                  <a:pt x="1040" y="56"/>
                  <a:pt x="1040" y="56"/>
                  <a:pt x="1040" y="56"/>
                </a:cubicBezTo>
                <a:cubicBezTo>
                  <a:pt x="1061" y="56"/>
                  <a:pt x="1078" y="39"/>
                  <a:pt x="1078" y="18"/>
                </a:cubicBezTo>
                <a:cubicBezTo>
                  <a:pt x="1078" y="11"/>
                  <a:pt x="1076" y="5"/>
                  <a:pt x="1073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E3EA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0" name="任意多边形: 形状 1029">
            <a:extLst>
              <a:ext uri="{FF2B5EF4-FFF2-40B4-BE49-F238E27FC236}">
                <a16:creationId xmlns:a16="http://schemas.microsoft.com/office/drawing/2014/main" id="{61CAB7B4-95CD-4563-A0F5-5FCB87448F9E}"/>
              </a:ext>
            </a:extLst>
          </p:cNvPr>
          <p:cNvSpPr/>
          <p:nvPr userDrawn="1"/>
        </p:nvSpPr>
        <p:spPr bwMode="auto">
          <a:xfrm>
            <a:off x="1490661" y="4906175"/>
            <a:ext cx="4003358" cy="74742"/>
          </a:xfrm>
          <a:custGeom>
            <a:avLst/>
            <a:gdLst>
              <a:gd name="T0" fmla="*/ 0 w 1069"/>
              <a:gd name="T1" fmla="*/ 0 h 20"/>
              <a:gd name="T2" fmla="*/ 34 w 1069"/>
              <a:gd name="T3" fmla="*/ 20 h 20"/>
              <a:gd name="T4" fmla="*/ 1036 w 1069"/>
              <a:gd name="T5" fmla="*/ 20 h 20"/>
              <a:gd name="T6" fmla="*/ 1069 w 1069"/>
              <a:gd name="T7" fmla="*/ 0 h 20"/>
              <a:gd name="T8" fmla="*/ 0 w 1069"/>
              <a:gd name="T9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9" h="20">
                <a:moveTo>
                  <a:pt x="0" y="0"/>
                </a:moveTo>
                <a:cubicBezTo>
                  <a:pt x="7" y="12"/>
                  <a:pt x="19" y="20"/>
                  <a:pt x="34" y="20"/>
                </a:cubicBezTo>
                <a:cubicBezTo>
                  <a:pt x="1036" y="20"/>
                  <a:pt x="1036" y="20"/>
                  <a:pt x="1036" y="20"/>
                </a:cubicBezTo>
                <a:cubicBezTo>
                  <a:pt x="1050" y="20"/>
                  <a:pt x="1063" y="12"/>
                  <a:pt x="1069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D6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1" name="矩形 1030">
            <a:extLst>
              <a:ext uri="{FF2B5EF4-FFF2-40B4-BE49-F238E27FC236}">
                <a16:creationId xmlns:a16="http://schemas.microsoft.com/office/drawing/2014/main" id="{DEDFE667-D203-4D31-ADA4-8A2955629990}"/>
              </a:ext>
            </a:extLst>
          </p:cNvPr>
          <p:cNvSpPr/>
          <p:nvPr userDrawn="1"/>
        </p:nvSpPr>
        <p:spPr bwMode="auto">
          <a:xfrm>
            <a:off x="2052782" y="2824305"/>
            <a:ext cx="3055071" cy="1681690"/>
          </a:xfrm>
          <a:prstGeom prst="rect">
            <a:avLst/>
          </a:prstGeom>
          <a:solidFill>
            <a:srgbClr val="1C53B6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2" name="矩形 1031">
            <a:extLst>
              <a:ext uri="{FF2B5EF4-FFF2-40B4-BE49-F238E27FC236}">
                <a16:creationId xmlns:a16="http://schemas.microsoft.com/office/drawing/2014/main" id="{C966651B-381C-46EA-AD41-47E2437CC3DE}"/>
              </a:ext>
            </a:extLst>
          </p:cNvPr>
          <p:cNvSpPr/>
          <p:nvPr userDrawn="1"/>
        </p:nvSpPr>
        <p:spPr bwMode="auto">
          <a:xfrm>
            <a:off x="1940669" y="2712192"/>
            <a:ext cx="3055071" cy="167702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3" name="矩形 1032">
            <a:extLst>
              <a:ext uri="{FF2B5EF4-FFF2-40B4-BE49-F238E27FC236}">
                <a16:creationId xmlns:a16="http://schemas.microsoft.com/office/drawing/2014/main" id="{6A3CBEBF-AE60-484A-B745-5A944765916D}"/>
              </a:ext>
            </a:extLst>
          </p:cNvPr>
          <p:cNvSpPr/>
          <p:nvPr userDrawn="1"/>
        </p:nvSpPr>
        <p:spPr bwMode="auto">
          <a:xfrm>
            <a:off x="1940669" y="2712192"/>
            <a:ext cx="3055071" cy="1677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4" name="任意多边形: 形状 1033">
            <a:extLst>
              <a:ext uri="{FF2B5EF4-FFF2-40B4-BE49-F238E27FC236}">
                <a16:creationId xmlns:a16="http://schemas.microsoft.com/office/drawing/2014/main" id="{99F704A1-4F2D-4ED6-A69F-D81FA24FB1BF}"/>
              </a:ext>
            </a:extLst>
          </p:cNvPr>
          <p:cNvSpPr/>
          <p:nvPr userDrawn="1"/>
        </p:nvSpPr>
        <p:spPr bwMode="auto">
          <a:xfrm>
            <a:off x="1940669" y="2487967"/>
            <a:ext cx="3055071" cy="224225"/>
          </a:xfrm>
          <a:custGeom>
            <a:avLst/>
            <a:gdLst>
              <a:gd name="T0" fmla="*/ 775 w 816"/>
              <a:gd name="T1" fmla="*/ 0 h 60"/>
              <a:gd name="T2" fmla="*/ 40 w 816"/>
              <a:gd name="T3" fmla="*/ 0 h 60"/>
              <a:gd name="T4" fmla="*/ 0 w 816"/>
              <a:gd name="T5" fmla="*/ 41 h 60"/>
              <a:gd name="T6" fmla="*/ 0 w 816"/>
              <a:gd name="T7" fmla="*/ 60 h 60"/>
              <a:gd name="T8" fmla="*/ 816 w 816"/>
              <a:gd name="T9" fmla="*/ 60 h 60"/>
              <a:gd name="T10" fmla="*/ 816 w 816"/>
              <a:gd name="T11" fmla="*/ 41 h 60"/>
              <a:gd name="T12" fmla="*/ 775 w 816"/>
              <a:gd name="T1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16" h="60">
                <a:moveTo>
                  <a:pt x="775" y="0"/>
                </a:moveTo>
                <a:cubicBezTo>
                  <a:pt x="40" y="0"/>
                  <a:pt x="40" y="0"/>
                  <a:pt x="40" y="0"/>
                </a:cubicBezTo>
                <a:cubicBezTo>
                  <a:pt x="18" y="0"/>
                  <a:pt x="0" y="18"/>
                  <a:pt x="0" y="41"/>
                </a:cubicBezTo>
                <a:cubicBezTo>
                  <a:pt x="0" y="60"/>
                  <a:pt x="0" y="60"/>
                  <a:pt x="0" y="60"/>
                </a:cubicBezTo>
                <a:cubicBezTo>
                  <a:pt x="816" y="60"/>
                  <a:pt x="816" y="60"/>
                  <a:pt x="816" y="60"/>
                </a:cubicBezTo>
                <a:cubicBezTo>
                  <a:pt x="816" y="41"/>
                  <a:pt x="816" y="41"/>
                  <a:pt x="816" y="41"/>
                </a:cubicBezTo>
                <a:cubicBezTo>
                  <a:pt x="816" y="18"/>
                  <a:pt x="798" y="0"/>
                  <a:pt x="775" y="0"/>
                </a:cubicBezTo>
                <a:close/>
              </a:path>
            </a:pathLst>
          </a:custGeom>
          <a:solidFill>
            <a:srgbClr val="6DB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5" name="椭圆 1034">
            <a:extLst>
              <a:ext uri="{FF2B5EF4-FFF2-40B4-BE49-F238E27FC236}">
                <a16:creationId xmlns:a16="http://schemas.microsoft.com/office/drawing/2014/main" id="{63202954-E729-45C0-A8CB-0BAB3515D46C}"/>
              </a:ext>
            </a:extLst>
          </p:cNvPr>
          <p:cNvSpPr/>
          <p:nvPr userDrawn="1"/>
        </p:nvSpPr>
        <p:spPr bwMode="auto">
          <a:xfrm>
            <a:off x="2124409" y="2570494"/>
            <a:ext cx="59171" cy="5917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6" name="椭圆 1035">
            <a:extLst>
              <a:ext uri="{FF2B5EF4-FFF2-40B4-BE49-F238E27FC236}">
                <a16:creationId xmlns:a16="http://schemas.microsoft.com/office/drawing/2014/main" id="{8CB0D986-5D7F-4D31-AD88-D115C92E580C}"/>
              </a:ext>
            </a:extLst>
          </p:cNvPr>
          <p:cNvSpPr/>
          <p:nvPr userDrawn="1"/>
        </p:nvSpPr>
        <p:spPr bwMode="auto">
          <a:xfrm>
            <a:off x="2224065" y="2570494"/>
            <a:ext cx="57613" cy="5917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7" name="椭圆 1036">
            <a:extLst>
              <a:ext uri="{FF2B5EF4-FFF2-40B4-BE49-F238E27FC236}">
                <a16:creationId xmlns:a16="http://schemas.microsoft.com/office/drawing/2014/main" id="{64D05077-6D41-4058-9E27-45514FCFA51D}"/>
              </a:ext>
            </a:extLst>
          </p:cNvPr>
          <p:cNvSpPr/>
          <p:nvPr userDrawn="1"/>
        </p:nvSpPr>
        <p:spPr bwMode="auto">
          <a:xfrm>
            <a:off x="2322164" y="2570494"/>
            <a:ext cx="59171" cy="5917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8" name="任意多边形: 形状 1037">
            <a:extLst>
              <a:ext uri="{FF2B5EF4-FFF2-40B4-BE49-F238E27FC236}">
                <a16:creationId xmlns:a16="http://schemas.microsoft.com/office/drawing/2014/main" id="{590E9632-F280-4DAA-98BB-D6EB96B96676}"/>
              </a:ext>
            </a:extLst>
          </p:cNvPr>
          <p:cNvSpPr/>
          <p:nvPr userDrawn="1"/>
        </p:nvSpPr>
        <p:spPr bwMode="auto">
          <a:xfrm>
            <a:off x="2105724" y="3794391"/>
            <a:ext cx="786346" cy="29586"/>
          </a:xfrm>
          <a:custGeom>
            <a:avLst/>
            <a:gdLst>
              <a:gd name="T0" fmla="*/ 5 w 210"/>
              <a:gd name="T1" fmla="*/ 8 h 8"/>
              <a:gd name="T2" fmla="*/ 205 w 210"/>
              <a:gd name="T3" fmla="*/ 8 h 8"/>
              <a:gd name="T4" fmla="*/ 205 w 210"/>
              <a:gd name="T5" fmla="*/ 0 h 8"/>
              <a:gd name="T6" fmla="*/ 5 w 210"/>
              <a:gd name="T7" fmla="*/ 0 h 8"/>
              <a:gd name="T8" fmla="*/ 5 w 21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8">
                <a:moveTo>
                  <a:pt x="5" y="8"/>
                </a:moveTo>
                <a:cubicBezTo>
                  <a:pt x="72" y="8"/>
                  <a:pt x="138" y="8"/>
                  <a:pt x="205" y="8"/>
                </a:cubicBezTo>
                <a:cubicBezTo>
                  <a:pt x="210" y="8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9" name="任意多边形: 形状 1038">
            <a:extLst>
              <a:ext uri="{FF2B5EF4-FFF2-40B4-BE49-F238E27FC236}">
                <a16:creationId xmlns:a16="http://schemas.microsoft.com/office/drawing/2014/main" id="{1ABF1B05-4994-471C-981D-6E98A264DA7F}"/>
              </a:ext>
            </a:extLst>
          </p:cNvPr>
          <p:cNvSpPr/>
          <p:nvPr userDrawn="1"/>
        </p:nvSpPr>
        <p:spPr bwMode="auto">
          <a:xfrm>
            <a:off x="2105724" y="3880033"/>
            <a:ext cx="786346" cy="26472"/>
          </a:xfrm>
          <a:custGeom>
            <a:avLst/>
            <a:gdLst>
              <a:gd name="T0" fmla="*/ 5 w 210"/>
              <a:gd name="T1" fmla="*/ 7 h 7"/>
              <a:gd name="T2" fmla="*/ 205 w 210"/>
              <a:gd name="T3" fmla="*/ 7 h 7"/>
              <a:gd name="T4" fmla="*/ 205 w 210"/>
              <a:gd name="T5" fmla="*/ 0 h 7"/>
              <a:gd name="T6" fmla="*/ 5 w 210"/>
              <a:gd name="T7" fmla="*/ 0 h 7"/>
              <a:gd name="T8" fmla="*/ 5 w 210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7">
                <a:moveTo>
                  <a:pt x="5" y="7"/>
                </a:moveTo>
                <a:cubicBezTo>
                  <a:pt x="72" y="7"/>
                  <a:pt x="138" y="7"/>
                  <a:pt x="205" y="7"/>
                </a:cubicBezTo>
                <a:cubicBezTo>
                  <a:pt x="210" y="7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7"/>
                  <a:pt x="5" y="7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0" name="任意多边形: 形状 1039">
            <a:extLst>
              <a:ext uri="{FF2B5EF4-FFF2-40B4-BE49-F238E27FC236}">
                <a16:creationId xmlns:a16="http://schemas.microsoft.com/office/drawing/2014/main" id="{D4F6D509-2F7D-4DC6-97C9-F1096A7B3491}"/>
              </a:ext>
            </a:extLst>
          </p:cNvPr>
          <p:cNvSpPr/>
          <p:nvPr userDrawn="1"/>
        </p:nvSpPr>
        <p:spPr bwMode="auto">
          <a:xfrm>
            <a:off x="2105724" y="3962560"/>
            <a:ext cx="786346" cy="29586"/>
          </a:xfrm>
          <a:custGeom>
            <a:avLst/>
            <a:gdLst>
              <a:gd name="T0" fmla="*/ 5 w 210"/>
              <a:gd name="T1" fmla="*/ 8 h 8"/>
              <a:gd name="T2" fmla="*/ 205 w 210"/>
              <a:gd name="T3" fmla="*/ 8 h 8"/>
              <a:gd name="T4" fmla="*/ 205 w 210"/>
              <a:gd name="T5" fmla="*/ 0 h 8"/>
              <a:gd name="T6" fmla="*/ 5 w 210"/>
              <a:gd name="T7" fmla="*/ 0 h 8"/>
              <a:gd name="T8" fmla="*/ 5 w 21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8">
                <a:moveTo>
                  <a:pt x="5" y="8"/>
                </a:moveTo>
                <a:cubicBezTo>
                  <a:pt x="72" y="8"/>
                  <a:pt x="138" y="8"/>
                  <a:pt x="205" y="8"/>
                </a:cubicBezTo>
                <a:cubicBezTo>
                  <a:pt x="210" y="8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1" name="任意多边形: 形状 1040">
            <a:extLst>
              <a:ext uri="{FF2B5EF4-FFF2-40B4-BE49-F238E27FC236}">
                <a16:creationId xmlns:a16="http://schemas.microsoft.com/office/drawing/2014/main" id="{A42F14F7-1FBC-45CD-BDFC-DECD1AF9C5C8}"/>
              </a:ext>
            </a:extLst>
          </p:cNvPr>
          <p:cNvSpPr/>
          <p:nvPr userDrawn="1"/>
        </p:nvSpPr>
        <p:spPr bwMode="auto">
          <a:xfrm>
            <a:off x="2105724" y="4048202"/>
            <a:ext cx="786346" cy="29586"/>
          </a:xfrm>
          <a:custGeom>
            <a:avLst/>
            <a:gdLst>
              <a:gd name="T0" fmla="*/ 5 w 210"/>
              <a:gd name="T1" fmla="*/ 8 h 8"/>
              <a:gd name="T2" fmla="*/ 205 w 210"/>
              <a:gd name="T3" fmla="*/ 8 h 8"/>
              <a:gd name="T4" fmla="*/ 205 w 210"/>
              <a:gd name="T5" fmla="*/ 0 h 8"/>
              <a:gd name="T6" fmla="*/ 5 w 210"/>
              <a:gd name="T7" fmla="*/ 0 h 8"/>
              <a:gd name="T8" fmla="*/ 5 w 21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8">
                <a:moveTo>
                  <a:pt x="5" y="8"/>
                </a:moveTo>
                <a:cubicBezTo>
                  <a:pt x="72" y="8"/>
                  <a:pt x="138" y="8"/>
                  <a:pt x="205" y="8"/>
                </a:cubicBezTo>
                <a:cubicBezTo>
                  <a:pt x="210" y="8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2" name="任意多边形: 形状 1041">
            <a:extLst>
              <a:ext uri="{FF2B5EF4-FFF2-40B4-BE49-F238E27FC236}">
                <a16:creationId xmlns:a16="http://schemas.microsoft.com/office/drawing/2014/main" id="{971D4884-6FD8-4D4A-8745-675DA851889B}"/>
              </a:ext>
            </a:extLst>
          </p:cNvPr>
          <p:cNvSpPr/>
          <p:nvPr userDrawn="1"/>
        </p:nvSpPr>
        <p:spPr bwMode="auto">
          <a:xfrm>
            <a:off x="2105724" y="4130730"/>
            <a:ext cx="786346" cy="29586"/>
          </a:xfrm>
          <a:custGeom>
            <a:avLst/>
            <a:gdLst>
              <a:gd name="T0" fmla="*/ 5 w 210"/>
              <a:gd name="T1" fmla="*/ 8 h 8"/>
              <a:gd name="T2" fmla="*/ 205 w 210"/>
              <a:gd name="T3" fmla="*/ 8 h 8"/>
              <a:gd name="T4" fmla="*/ 205 w 210"/>
              <a:gd name="T5" fmla="*/ 0 h 8"/>
              <a:gd name="T6" fmla="*/ 5 w 210"/>
              <a:gd name="T7" fmla="*/ 0 h 8"/>
              <a:gd name="T8" fmla="*/ 5 w 21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8">
                <a:moveTo>
                  <a:pt x="5" y="8"/>
                </a:moveTo>
                <a:cubicBezTo>
                  <a:pt x="72" y="8"/>
                  <a:pt x="138" y="8"/>
                  <a:pt x="205" y="8"/>
                </a:cubicBezTo>
                <a:cubicBezTo>
                  <a:pt x="210" y="8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3" name="任意多边形: 形状 1042">
            <a:extLst>
              <a:ext uri="{FF2B5EF4-FFF2-40B4-BE49-F238E27FC236}">
                <a16:creationId xmlns:a16="http://schemas.microsoft.com/office/drawing/2014/main" id="{2BCAE413-89D0-49F9-AF8A-E9525ED2BF1E}"/>
              </a:ext>
            </a:extLst>
          </p:cNvPr>
          <p:cNvSpPr/>
          <p:nvPr userDrawn="1"/>
        </p:nvSpPr>
        <p:spPr bwMode="auto">
          <a:xfrm>
            <a:off x="2105724" y="4216372"/>
            <a:ext cx="786346" cy="31142"/>
          </a:xfrm>
          <a:custGeom>
            <a:avLst/>
            <a:gdLst>
              <a:gd name="T0" fmla="*/ 5 w 210"/>
              <a:gd name="T1" fmla="*/ 8 h 8"/>
              <a:gd name="T2" fmla="*/ 205 w 210"/>
              <a:gd name="T3" fmla="*/ 8 h 8"/>
              <a:gd name="T4" fmla="*/ 205 w 210"/>
              <a:gd name="T5" fmla="*/ 0 h 8"/>
              <a:gd name="T6" fmla="*/ 5 w 210"/>
              <a:gd name="T7" fmla="*/ 0 h 8"/>
              <a:gd name="T8" fmla="*/ 5 w 21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8">
                <a:moveTo>
                  <a:pt x="5" y="8"/>
                </a:moveTo>
                <a:cubicBezTo>
                  <a:pt x="72" y="8"/>
                  <a:pt x="138" y="8"/>
                  <a:pt x="205" y="8"/>
                </a:cubicBezTo>
                <a:cubicBezTo>
                  <a:pt x="210" y="8"/>
                  <a:pt x="210" y="0"/>
                  <a:pt x="205" y="0"/>
                </a:cubicBezTo>
                <a:cubicBezTo>
                  <a:pt x="138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4" name="任意多边形: 形状 1043">
            <a:extLst>
              <a:ext uri="{FF2B5EF4-FFF2-40B4-BE49-F238E27FC236}">
                <a16:creationId xmlns:a16="http://schemas.microsoft.com/office/drawing/2014/main" id="{478532C9-A6B4-4B92-984E-CC5D83169DA5}"/>
              </a:ext>
            </a:extLst>
          </p:cNvPr>
          <p:cNvSpPr/>
          <p:nvPr userDrawn="1"/>
        </p:nvSpPr>
        <p:spPr bwMode="auto">
          <a:xfrm>
            <a:off x="2153994" y="2906833"/>
            <a:ext cx="688247" cy="756760"/>
          </a:xfrm>
          <a:custGeom>
            <a:avLst/>
            <a:gdLst>
              <a:gd name="T0" fmla="*/ 92 w 184"/>
              <a:gd name="T1" fmla="*/ 202 h 202"/>
              <a:gd name="T2" fmla="*/ 92 w 184"/>
              <a:gd name="T3" fmla="*/ 202 h 202"/>
              <a:gd name="T4" fmla="*/ 0 w 184"/>
              <a:gd name="T5" fmla="*/ 110 h 202"/>
              <a:gd name="T6" fmla="*/ 0 w 184"/>
              <a:gd name="T7" fmla="*/ 92 h 202"/>
              <a:gd name="T8" fmla="*/ 92 w 184"/>
              <a:gd name="T9" fmla="*/ 0 h 202"/>
              <a:gd name="T10" fmla="*/ 184 w 184"/>
              <a:gd name="T11" fmla="*/ 92 h 202"/>
              <a:gd name="T12" fmla="*/ 184 w 184"/>
              <a:gd name="T13" fmla="*/ 110 h 202"/>
              <a:gd name="T14" fmla="*/ 92 w 184"/>
              <a:gd name="T15" fmla="*/ 202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4" h="202">
                <a:moveTo>
                  <a:pt x="92" y="202"/>
                </a:moveTo>
                <a:cubicBezTo>
                  <a:pt x="92" y="202"/>
                  <a:pt x="92" y="202"/>
                  <a:pt x="92" y="202"/>
                </a:cubicBezTo>
                <a:cubicBezTo>
                  <a:pt x="41" y="202"/>
                  <a:pt x="0" y="161"/>
                  <a:pt x="0" y="110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41"/>
                  <a:pt x="41" y="0"/>
                  <a:pt x="92" y="0"/>
                </a:cubicBezTo>
                <a:cubicBezTo>
                  <a:pt x="143" y="0"/>
                  <a:pt x="184" y="41"/>
                  <a:pt x="184" y="92"/>
                </a:cubicBezTo>
                <a:cubicBezTo>
                  <a:pt x="184" y="110"/>
                  <a:pt x="184" y="110"/>
                  <a:pt x="184" y="110"/>
                </a:cubicBezTo>
                <a:cubicBezTo>
                  <a:pt x="184" y="161"/>
                  <a:pt x="143" y="202"/>
                  <a:pt x="92" y="202"/>
                </a:cubicBezTo>
                <a:close/>
              </a:path>
            </a:pathLst>
          </a:custGeom>
          <a:solidFill>
            <a:srgbClr val="F9DC0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5" name="任意多边形: 形状 1044">
            <a:extLst>
              <a:ext uri="{FF2B5EF4-FFF2-40B4-BE49-F238E27FC236}">
                <a16:creationId xmlns:a16="http://schemas.microsoft.com/office/drawing/2014/main" id="{B4C951FC-57D4-42E7-8018-E2045BA0F84D}"/>
              </a:ext>
            </a:extLst>
          </p:cNvPr>
          <p:cNvSpPr/>
          <p:nvPr userDrawn="1"/>
        </p:nvSpPr>
        <p:spPr bwMode="auto">
          <a:xfrm>
            <a:off x="2277007" y="3157529"/>
            <a:ext cx="378381" cy="325438"/>
          </a:xfrm>
          <a:custGeom>
            <a:avLst/>
            <a:gdLst>
              <a:gd name="T0" fmla="*/ 86 w 101"/>
              <a:gd name="T1" fmla="*/ 63 h 87"/>
              <a:gd name="T2" fmla="*/ 75 w 101"/>
              <a:gd name="T3" fmla="*/ 70 h 87"/>
              <a:gd name="T4" fmla="*/ 56 w 101"/>
              <a:gd name="T5" fmla="*/ 70 h 87"/>
              <a:gd name="T6" fmla="*/ 46 w 101"/>
              <a:gd name="T7" fmla="*/ 63 h 87"/>
              <a:gd name="T8" fmla="*/ 43 w 101"/>
              <a:gd name="T9" fmla="*/ 55 h 87"/>
              <a:gd name="T10" fmla="*/ 79 w 101"/>
              <a:gd name="T11" fmla="*/ 55 h 87"/>
              <a:gd name="T12" fmla="*/ 101 w 101"/>
              <a:gd name="T13" fmla="*/ 12 h 87"/>
              <a:gd name="T14" fmla="*/ 27 w 101"/>
              <a:gd name="T15" fmla="*/ 14 h 87"/>
              <a:gd name="T16" fmla="*/ 22 w 101"/>
              <a:gd name="T17" fmla="*/ 0 h 87"/>
              <a:gd name="T18" fmla="*/ 4 w 101"/>
              <a:gd name="T19" fmla="*/ 0 h 87"/>
              <a:gd name="T20" fmla="*/ 0 w 101"/>
              <a:gd name="T21" fmla="*/ 4 h 87"/>
              <a:gd name="T22" fmla="*/ 4 w 101"/>
              <a:gd name="T23" fmla="*/ 9 h 87"/>
              <a:gd name="T24" fmla="*/ 16 w 101"/>
              <a:gd name="T25" fmla="*/ 9 h 87"/>
              <a:gd name="T26" fmla="*/ 38 w 101"/>
              <a:gd name="T27" fmla="*/ 66 h 87"/>
              <a:gd name="T28" fmla="*/ 34 w 101"/>
              <a:gd name="T29" fmla="*/ 75 h 87"/>
              <a:gd name="T30" fmla="*/ 46 w 101"/>
              <a:gd name="T31" fmla="*/ 87 h 87"/>
              <a:gd name="T32" fmla="*/ 56 w 101"/>
              <a:gd name="T33" fmla="*/ 79 h 87"/>
              <a:gd name="T34" fmla="*/ 75 w 101"/>
              <a:gd name="T35" fmla="*/ 79 h 87"/>
              <a:gd name="T36" fmla="*/ 86 w 101"/>
              <a:gd name="T37" fmla="*/ 87 h 87"/>
              <a:gd name="T38" fmla="*/ 97 w 101"/>
              <a:gd name="T39" fmla="*/ 75 h 87"/>
              <a:gd name="T40" fmla="*/ 86 w 101"/>
              <a:gd name="T41" fmla="*/ 63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1" h="87">
                <a:moveTo>
                  <a:pt x="86" y="63"/>
                </a:moveTo>
                <a:cubicBezTo>
                  <a:pt x="81" y="63"/>
                  <a:pt x="77" y="66"/>
                  <a:pt x="75" y="70"/>
                </a:cubicBezTo>
                <a:cubicBezTo>
                  <a:pt x="56" y="70"/>
                  <a:pt x="56" y="70"/>
                  <a:pt x="56" y="70"/>
                </a:cubicBezTo>
                <a:cubicBezTo>
                  <a:pt x="55" y="66"/>
                  <a:pt x="51" y="64"/>
                  <a:pt x="46" y="63"/>
                </a:cubicBezTo>
                <a:cubicBezTo>
                  <a:pt x="43" y="55"/>
                  <a:pt x="43" y="55"/>
                  <a:pt x="43" y="55"/>
                </a:cubicBezTo>
                <a:cubicBezTo>
                  <a:pt x="79" y="55"/>
                  <a:pt x="79" y="55"/>
                  <a:pt x="79" y="55"/>
                </a:cubicBezTo>
                <a:cubicBezTo>
                  <a:pt x="101" y="12"/>
                  <a:pt x="101" y="12"/>
                  <a:pt x="101" y="12"/>
                </a:cubicBezTo>
                <a:cubicBezTo>
                  <a:pt x="27" y="14"/>
                  <a:pt x="27" y="14"/>
                  <a:pt x="27" y="14"/>
                </a:cubicBezTo>
                <a:cubicBezTo>
                  <a:pt x="22" y="0"/>
                  <a:pt x="22" y="0"/>
                  <a:pt x="22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9"/>
                  <a:pt x="4" y="9"/>
                </a:cubicBezTo>
                <a:cubicBezTo>
                  <a:pt x="16" y="9"/>
                  <a:pt x="16" y="9"/>
                  <a:pt x="16" y="9"/>
                </a:cubicBezTo>
                <a:cubicBezTo>
                  <a:pt x="38" y="66"/>
                  <a:pt x="38" y="66"/>
                  <a:pt x="38" y="66"/>
                </a:cubicBezTo>
                <a:cubicBezTo>
                  <a:pt x="35" y="69"/>
                  <a:pt x="34" y="72"/>
                  <a:pt x="34" y="75"/>
                </a:cubicBezTo>
                <a:cubicBezTo>
                  <a:pt x="34" y="81"/>
                  <a:pt x="39" y="87"/>
                  <a:pt x="46" y="87"/>
                </a:cubicBezTo>
                <a:cubicBezTo>
                  <a:pt x="50" y="87"/>
                  <a:pt x="55" y="84"/>
                  <a:pt x="56" y="79"/>
                </a:cubicBezTo>
                <a:cubicBezTo>
                  <a:pt x="75" y="79"/>
                  <a:pt x="75" y="79"/>
                  <a:pt x="75" y="79"/>
                </a:cubicBezTo>
                <a:cubicBezTo>
                  <a:pt x="77" y="84"/>
                  <a:pt x="81" y="87"/>
                  <a:pt x="86" y="87"/>
                </a:cubicBezTo>
                <a:cubicBezTo>
                  <a:pt x="92" y="87"/>
                  <a:pt x="97" y="81"/>
                  <a:pt x="97" y="75"/>
                </a:cubicBezTo>
                <a:cubicBezTo>
                  <a:pt x="97" y="68"/>
                  <a:pt x="92" y="63"/>
                  <a:pt x="86" y="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6" name="任意多边形: 形状 1045">
            <a:extLst>
              <a:ext uri="{FF2B5EF4-FFF2-40B4-BE49-F238E27FC236}">
                <a16:creationId xmlns:a16="http://schemas.microsoft.com/office/drawing/2014/main" id="{3DAB6219-6BC0-4884-A050-EA7585E8B8C3}"/>
              </a:ext>
            </a:extLst>
          </p:cNvPr>
          <p:cNvSpPr/>
          <p:nvPr userDrawn="1"/>
        </p:nvSpPr>
        <p:spPr bwMode="auto">
          <a:xfrm>
            <a:off x="3055568" y="3880033"/>
            <a:ext cx="1729962" cy="434438"/>
          </a:xfrm>
          <a:custGeom>
            <a:avLst/>
            <a:gdLst>
              <a:gd name="T0" fmla="*/ 462 w 462"/>
              <a:gd name="T1" fmla="*/ 11 h 116"/>
              <a:gd name="T2" fmla="*/ 462 w 462"/>
              <a:gd name="T3" fmla="*/ 105 h 116"/>
              <a:gd name="T4" fmla="*/ 451 w 462"/>
              <a:gd name="T5" fmla="*/ 116 h 116"/>
              <a:gd name="T6" fmla="*/ 11 w 462"/>
              <a:gd name="T7" fmla="*/ 116 h 116"/>
              <a:gd name="T8" fmla="*/ 0 w 462"/>
              <a:gd name="T9" fmla="*/ 105 h 116"/>
              <a:gd name="T10" fmla="*/ 0 w 462"/>
              <a:gd name="T11" fmla="*/ 11 h 116"/>
              <a:gd name="T12" fmla="*/ 11 w 462"/>
              <a:gd name="T13" fmla="*/ 0 h 116"/>
              <a:gd name="T14" fmla="*/ 451 w 462"/>
              <a:gd name="T15" fmla="*/ 0 h 116"/>
              <a:gd name="T16" fmla="*/ 462 w 462"/>
              <a:gd name="T17" fmla="*/ 11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2" h="116">
                <a:moveTo>
                  <a:pt x="462" y="11"/>
                </a:moveTo>
                <a:cubicBezTo>
                  <a:pt x="462" y="105"/>
                  <a:pt x="462" y="105"/>
                  <a:pt x="462" y="105"/>
                </a:cubicBezTo>
                <a:cubicBezTo>
                  <a:pt x="462" y="111"/>
                  <a:pt x="457" y="116"/>
                  <a:pt x="45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5" y="116"/>
                  <a:pt x="0" y="111"/>
                  <a:pt x="0" y="105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451" y="0"/>
                  <a:pt x="451" y="0"/>
                  <a:pt x="451" y="0"/>
                </a:cubicBezTo>
                <a:cubicBezTo>
                  <a:pt x="455" y="4"/>
                  <a:pt x="458" y="6"/>
                  <a:pt x="462" y="11"/>
                </a:cubicBezTo>
              </a:path>
            </a:pathLst>
          </a:custGeom>
          <a:solidFill>
            <a:srgbClr val="E9EB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7" name="任意多边形: 形状 1046">
            <a:extLst>
              <a:ext uri="{FF2B5EF4-FFF2-40B4-BE49-F238E27FC236}">
                <a16:creationId xmlns:a16="http://schemas.microsoft.com/office/drawing/2014/main" id="{AEB73A25-9049-4110-A576-218FBF19BC15}"/>
              </a:ext>
            </a:extLst>
          </p:cNvPr>
          <p:cNvSpPr/>
          <p:nvPr userDrawn="1"/>
        </p:nvSpPr>
        <p:spPr bwMode="auto">
          <a:xfrm>
            <a:off x="3134980" y="4026403"/>
            <a:ext cx="655548" cy="213326"/>
          </a:xfrm>
          <a:custGeom>
            <a:avLst/>
            <a:gdLst>
              <a:gd name="T0" fmla="*/ 171 w 175"/>
              <a:gd name="T1" fmla="*/ 0 h 57"/>
              <a:gd name="T2" fmla="*/ 4 w 175"/>
              <a:gd name="T3" fmla="*/ 0 h 57"/>
              <a:gd name="T4" fmla="*/ 0 w 175"/>
              <a:gd name="T5" fmla="*/ 3 h 57"/>
              <a:gd name="T6" fmla="*/ 0 w 175"/>
              <a:gd name="T7" fmla="*/ 53 h 57"/>
              <a:gd name="T8" fmla="*/ 4 w 175"/>
              <a:gd name="T9" fmla="*/ 57 h 57"/>
              <a:gd name="T10" fmla="*/ 171 w 175"/>
              <a:gd name="T11" fmla="*/ 57 h 57"/>
              <a:gd name="T12" fmla="*/ 175 w 175"/>
              <a:gd name="T13" fmla="*/ 53 h 57"/>
              <a:gd name="T14" fmla="*/ 175 w 175"/>
              <a:gd name="T15" fmla="*/ 3 h 57"/>
              <a:gd name="T16" fmla="*/ 171 w 175"/>
              <a:gd name="T17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5" h="57">
                <a:moveTo>
                  <a:pt x="171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1"/>
                  <a:pt x="0" y="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2" y="57"/>
                  <a:pt x="4" y="57"/>
                </a:cubicBezTo>
                <a:cubicBezTo>
                  <a:pt x="171" y="57"/>
                  <a:pt x="171" y="57"/>
                  <a:pt x="171" y="57"/>
                </a:cubicBezTo>
                <a:cubicBezTo>
                  <a:pt x="173" y="57"/>
                  <a:pt x="175" y="55"/>
                  <a:pt x="175" y="53"/>
                </a:cubicBezTo>
                <a:cubicBezTo>
                  <a:pt x="175" y="3"/>
                  <a:pt x="175" y="3"/>
                  <a:pt x="175" y="3"/>
                </a:cubicBezTo>
                <a:cubicBezTo>
                  <a:pt x="175" y="1"/>
                  <a:pt x="173" y="0"/>
                  <a:pt x="171" y="0"/>
                </a:cubicBezTo>
              </a:path>
            </a:pathLst>
          </a:custGeom>
          <a:solidFill>
            <a:srgbClr val="E1E3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8" name="任意多边形: 形状 1047">
            <a:extLst>
              <a:ext uri="{FF2B5EF4-FFF2-40B4-BE49-F238E27FC236}">
                <a16:creationId xmlns:a16="http://schemas.microsoft.com/office/drawing/2014/main" id="{41411A86-B7A9-4B54-BC68-BB0D714EACD7}"/>
              </a:ext>
            </a:extLst>
          </p:cNvPr>
          <p:cNvSpPr/>
          <p:nvPr userDrawn="1"/>
        </p:nvSpPr>
        <p:spPr bwMode="auto">
          <a:xfrm>
            <a:off x="3212836" y="3965674"/>
            <a:ext cx="625962" cy="213326"/>
          </a:xfrm>
          <a:custGeom>
            <a:avLst/>
            <a:gdLst>
              <a:gd name="T0" fmla="*/ 164 w 167"/>
              <a:gd name="T1" fmla="*/ 57 h 57"/>
              <a:gd name="T2" fmla="*/ 3 w 167"/>
              <a:gd name="T3" fmla="*/ 57 h 57"/>
              <a:gd name="T4" fmla="*/ 0 w 167"/>
              <a:gd name="T5" fmla="*/ 54 h 57"/>
              <a:gd name="T6" fmla="*/ 0 w 167"/>
              <a:gd name="T7" fmla="*/ 3 h 57"/>
              <a:gd name="T8" fmla="*/ 3 w 167"/>
              <a:gd name="T9" fmla="*/ 0 h 57"/>
              <a:gd name="T10" fmla="*/ 164 w 167"/>
              <a:gd name="T11" fmla="*/ 0 h 57"/>
              <a:gd name="T12" fmla="*/ 167 w 167"/>
              <a:gd name="T13" fmla="*/ 3 h 57"/>
              <a:gd name="T14" fmla="*/ 167 w 167"/>
              <a:gd name="T15" fmla="*/ 54 h 57"/>
              <a:gd name="T16" fmla="*/ 164 w 167"/>
              <a:gd name="T17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7" h="57">
                <a:moveTo>
                  <a:pt x="164" y="57"/>
                </a:moveTo>
                <a:cubicBezTo>
                  <a:pt x="3" y="57"/>
                  <a:pt x="3" y="57"/>
                  <a:pt x="3" y="57"/>
                </a:cubicBezTo>
                <a:cubicBezTo>
                  <a:pt x="1" y="57"/>
                  <a:pt x="0" y="55"/>
                  <a:pt x="0" y="54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6" y="0"/>
                  <a:pt x="167" y="1"/>
                  <a:pt x="167" y="3"/>
                </a:cubicBezTo>
                <a:cubicBezTo>
                  <a:pt x="167" y="54"/>
                  <a:pt x="167" y="54"/>
                  <a:pt x="167" y="54"/>
                </a:cubicBezTo>
                <a:cubicBezTo>
                  <a:pt x="167" y="55"/>
                  <a:pt x="166" y="57"/>
                  <a:pt x="164" y="57"/>
                </a:cubicBezTo>
                <a:close/>
              </a:path>
            </a:pathLst>
          </a:cu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9" name="任意多边形: 形状 1048">
            <a:extLst>
              <a:ext uri="{FF2B5EF4-FFF2-40B4-BE49-F238E27FC236}">
                <a16:creationId xmlns:a16="http://schemas.microsoft.com/office/drawing/2014/main" id="{9CC7D214-0BA1-4BB2-9B2A-9BF2D160DCB5}"/>
              </a:ext>
            </a:extLst>
          </p:cNvPr>
          <p:cNvSpPr/>
          <p:nvPr userDrawn="1"/>
        </p:nvSpPr>
        <p:spPr bwMode="auto">
          <a:xfrm>
            <a:off x="3287578" y="4029516"/>
            <a:ext cx="457793" cy="15571"/>
          </a:xfrm>
          <a:custGeom>
            <a:avLst/>
            <a:gdLst>
              <a:gd name="T0" fmla="*/ 120 w 122"/>
              <a:gd name="T1" fmla="*/ 4 h 4"/>
              <a:gd name="T2" fmla="*/ 2 w 122"/>
              <a:gd name="T3" fmla="*/ 4 h 4"/>
              <a:gd name="T4" fmla="*/ 0 w 122"/>
              <a:gd name="T5" fmla="*/ 2 h 4"/>
              <a:gd name="T6" fmla="*/ 2 w 122"/>
              <a:gd name="T7" fmla="*/ 0 h 4"/>
              <a:gd name="T8" fmla="*/ 120 w 122"/>
              <a:gd name="T9" fmla="*/ 0 h 4"/>
              <a:gd name="T10" fmla="*/ 122 w 122"/>
              <a:gd name="T11" fmla="*/ 2 h 4"/>
              <a:gd name="T12" fmla="*/ 120 w 122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" h="4">
                <a:moveTo>
                  <a:pt x="120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1" y="0"/>
                  <a:pt x="122" y="1"/>
                  <a:pt x="122" y="2"/>
                </a:cubicBezTo>
                <a:cubicBezTo>
                  <a:pt x="122" y="3"/>
                  <a:pt x="121" y="4"/>
                  <a:pt x="120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0" name="任意多边形: 形状 1049">
            <a:extLst>
              <a:ext uri="{FF2B5EF4-FFF2-40B4-BE49-F238E27FC236}">
                <a16:creationId xmlns:a16="http://schemas.microsoft.com/office/drawing/2014/main" id="{90779F0F-3F1B-4C0F-A7A6-21F265764F0E}"/>
              </a:ext>
            </a:extLst>
          </p:cNvPr>
          <p:cNvSpPr/>
          <p:nvPr userDrawn="1"/>
        </p:nvSpPr>
        <p:spPr bwMode="auto">
          <a:xfrm>
            <a:off x="3287578" y="4101145"/>
            <a:ext cx="217997" cy="10901"/>
          </a:xfrm>
          <a:custGeom>
            <a:avLst/>
            <a:gdLst>
              <a:gd name="T0" fmla="*/ 56 w 58"/>
              <a:gd name="T1" fmla="*/ 3 h 3"/>
              <a:gd name="T2" fmla="*/ 2 w 58"/>
              <a:gd name="T3" fmla="*/ 3 h 3"/>
              <a:gd name="T4" fmla="*/ 0 w 58"/>
              <a:gd name="T5" fmla="*/ 2 h 3"/>
              <a:gd name="T6" fmla="*/ 2 w 58"/>
              <a:gd name="T7" fmla="*/ 0 h 3"/>
              <a:gd name="T8" fmla="*/ 56 w 58"/>
              <a:gd name="T9" fmla="*/ 0 h 3"/>
              <a:gd name="T10" fmla="*/ 58 w 58"/>
              <a:gd name="T11" fmla="*/ 2 h 3"/>
              <a:gd name="T12" fmla="*/ 56 w 58"/>
              <a:gd name="T13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" h="3">
                <a:moveTo>
                  <a:pt x="56" y="3"/>
                </a:moveTo>
                <a:cubicBezTo>
                  <a:pt x="2" y="3"/>
                  <a:pt x="2" y="3"/>
                  <a:pt x="2" y="3"/>
                </a:cubicBezTo>
                <a:cubicBezTo>
                  <a:pt x="1" y="3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7" y="0"/>
                  <a:pt x="58" y="1"/>
                  <a:pt x="58" y="2"/>
                </a:cubicBezTo>
                <a:cubicBezTo>
                  <a:pt x="58" y="3"/>
                  <a:pt x="57" y="3"/>
                  <a:pt x="56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1" name="任意多边形: 形状 1050">
            <a:extLst>
              <a:ext uri="{FF2B5EF4-FFF2-40B4-BE49-F238E27FC236}">
                <a16:creationId xmlns:a16="http://schemas.microsoft.com/office/drawing/2014/main" id="{E7F19A0A-D194-4F6A-B13D-B7CADA615C9C}"/>
              </a:ext>
            </a:extLst>
          </p:cNvPr>
          <p:cNvSpPr/>
          <p:nvPr userDrawn="1"/>
        </p:nvSpPr>
        <p:spPr bwMode="auto">
          <a:xfrm>
            <a:off x="3954026" y="4010831"/>
            <a:ext cx="116784" cy="108998"/>
          </a:xfrm>
          <a:custGeom>
            <a:avLst/>
            <a:gdLst>
              <a:gd name="T0" fmla="*/ 39 w 75"/>
              <a:gd name="T1" fmla="*/ 0 h 70"/>
              <a:gd name="T2" fmla="*/ 49 w 75"/>
              <a:gd name="T3" fmla="*/ 24 h 70"/>
              <a:gd name="T4" fmla="*/ 75 w 75"/>
              <a:gd name="T5" fmla="*/ 27 h 70"/>
              <a:gd name="T6" fmla="*/ 56 w 75"/>
              <a:gd name="T7" fmla="*/ 46 h 70"/>
              <a:gd name="T8" fmla="*/ 61 w 75"/>
              <a:gd name="T9" fmla="*/ 70 h 70"/>
              <a:gd name="T10" fmla="*/ 39 w 75"/>
              <a:gd name="T11" fmla="*/ 58 h 70"/>
              <a:gd name="T12" fmla="*/ 15 w 75"/>
              <a:gd name="T13" fmla="*/ 70 h 70"/>
              <a:gd name="T14" fmla="*/ 20 w 75"/>
              <a:gd name="T15" fmla="*/ 46 h 70"/>
              <a:gd name="T16" fmla="*/ 0 w 75"/>
              <a:gd name="T17" fmla="*/ 27 h 70"/>
              <a:gd name="T18" fmla="*/ 27 w 75"/>
              <a:gd name="T19" fmla="*/ 24 h 70"/>
              <a:gd name="T20" fmla="*/ 39 w 75"/>
              <a:gd name="T21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5" h="70">
                <a:moveTo>
                  <a:pt x="39" y="0"/>
                </a:moveTo>
                <a:lnTo>
                  <a:pt x="49" y="24"/>
                </a:lnTo>
                <a:lnTo>
                  <a:pt x="75" y="27"/>
                </a:lnTo>
                <a:lnTo>
                  <a:pt x="56" y="46"/>
                </a:lnTo>
                <a:lnTo>
                  <a:pt x="61" y="70"/>
                </a:lnTo>
                <a:lnTo>
                  <a:pt x="39" y="58"/>
                </a:lnTo>
                <a:lnTo>
                  <a:pt x="15" y="70"/>
                </a:lnTo>
                <a:lnTo>
                  <a:pt x="20" y="46"/>
                </a:lnTo>
                <a:lnTo>
                  <a:pt x="0" y="27"/>
                </a:lnTo>
                <a:lnTo>
                  <a:pt x="27" y="24"/>
                </a:lnTo>
                <a:lnTo>
                  <a:pt x="39" y="0"/>
                </a:lnTo>
                <a:close/>
              </a:path>
            </a:pathLst>
          </a:cu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2" name="任意多边形: 形状 1051">
            <a:extLst>
              <a:ext uri="{FF2B5EF4-FFF2-40B4-BE49-F238E27FC236}">
                <a16:creationId xmlns:a16="http://schemas.microsoft.com/office/drawing/2014/main" id="{8E410574-6E20-49F0-872B-DF7BBA4880D8}"/>
              </a:ext>
            </a:extLst>
          </p:cNvPr>
          <p:cNvSpPr/>
          <p:nvPr userDrawn="1"/>
        </p:nvSpPr>
        <p:spPr bwMode="auto">
          <a:xfrm>
            <a:off x="4115967" y="4010831"/>
            <a:ext cx="115227" cy="108998"/>
          </a:xfrm>
          <a:custGeom>
            <a:avLst/>
            <a:gdLst>
              <a:gd name="T0" fmla="*/ 36 w 74"/>
              <a:gd name="T1" fmla="*/ 0 h 70"/>
              <a:gd name="T2" fmla="*/ 48 w 74"/>
              <a:gd name="T3" fmla="*/ 24 h 70"/>
              <a:gd name="T4" fmla="*/ 74 w 74"/>
              <a:gd name="T5" fmla="*/ 27 h 70"/>
              <a:gd name="T6" fmla="*/ 55 w 74"/>
              <a:gd name="T7" fmla="*/ 46 h 70"/>
              <a:gd name="T8" fmla="*/ 60 w 74"/>
              <a:gd name="T9" fmla="*/ 70 h 70"/>
              <a:gd name="T10" fmla="*/ 36 w 74"/>
              <a:gd name="T11" fmla="*/ 58 h 70"/>
              <a:gd name="T12" fmla="*/ 14 w 74"/>
              <a:gd name="T13" fmla="*/ 70 h 70"/>
              <a:gd name="T14" fmla="*/ 19 w 74"/>
              <a:gd name="T15" fmla="*/ 46 h 70"/>
              <a:gd name="T16" fmla="*/ 0 w 74"/>
              <a:gd name="T17" fmla="*/ 27 h 70"/>
              <a:gd name="T18" fmla="*/ 26 w 74"/>
              <a:gd name="T19" fmla="*/ 24 h 70"/>
              <a:gd name="T20" fmla="*/ 36 w 74"/>
              <a:gd name="T21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4" h="70">
                <a:moveTo>
                  <a:pt x="36" y="0"/>
                </a:moveTo>
                <a:lnTo>
                  <a:pt x="48" y="24"/>
                </a:lnTo>
                <a:lnTo>
                  <a:pt x="74" y="27"/>
                </a:lnTo>
                <a:lnTo>
                  <a:pt x="55" y="46"/>
                </a:lnTo>
                <a:lnTo>
                  <a:pt x="60" y="70"/>
                </a:lnTo>
                <a:lnTo>
                  <a:pt x="36" y="58"/>
                </a:lnTo>
                <a:lnTo>
                  <a:pt x="14" y="70"/>
                </a:lnTo>
                <a:lnTo>
                  <a:pt x="19" y="46"/>
                </a:lnTo>
                <a:lnTo>
                  <a:pt x="0" y="27"/>
                </a:lnTo>
                <a:lnTo>
                  <a:pt x="26" y="24"/>
                </a:lnTo>
                <a:lnTo>
                  <a:pt x="36" y="0"/>
                </a:lnTo>
                <a:close/>
              </a:path>
            </a:pathLst>
          </a:cu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3" name="任意多边形: 形状 1052">
            <a:extLst>
              <a:ext uri="{FF2B5EF4-FFF2-40B4-BE49-F238E27FC236}">
                <a16:creationId xmlns:a16="http://schemas.microsoft.com/office/drawing/2014/main" id="{72C2EB81-FE74-49B1-A23C-7E905D26A38C}"/>
              </a:ext>
            </a:extLst>
          </p:cNvPr>
          <p:cNvSpPr/>
          <p:nvPr userDrawn="1"/>
        </p:nvSpPr>
        <p:spPr bwMode="auto">
          <a:xfrm>
            <a:off x="4276351" y="4010831"/>
            <a:ext cx="112113" cy="108998"/>
          </a:xfrm>
          <a:custGeom>
            <a:avLst/>
            <a:gdLst>
              <a:gd name="T0" fmla="*/ 36 w 72"/>
              <a:gd name="T1" fmla="*/ 0 h 70"/>
              <a:gd name="T2" fmla="*/ 48 w 72"/>
              <a:gd name="T3" fmla="*/ 24 h 70"/>
              <a:gd name="T4" fmla="*/ 72 w 72"/>
              <a:gd name="T5" fmla="*/ 27 h 70"/>
              <a:gd name="T6" fmla="*/ 56 w 72"/>
              <a:gd name="T7" fmla="*/ 46 h 70"/>
              <a:gd name="T8" fmla="*/ 58 w 72"/>
              <a:gd name="T9" fmla="*/ 70 h 70"/>
              <a:gd name="T10" fmla="*/ 36 w 72"/>
              <a:gd name="T11" fmla="*/ 58 h 70"/>
              <a:gd name="T12" fmla="*/ 12 w 72"/>
              <a:gd name="T13" fmla="*/ 70 h 70"/>
              <a:gd name="T14" fmla="*/ 17 w 72"/>
              <a:gd name="T15" fmla="*/ 46 h 70"/>
              <a:gd name="T16" fmla="*/ 0 w 72"/>
              <a:gd name="T17" fmla="*/ 27 h 70"/>
              <a:gd name="T18" fmla="*/ 24 w 72"/>
              <a:gd name="T19" fmla="*/ 24 h 70"/>
              <a:gd name="T20" fmla="*/ 36 w 72"/>
              <a:gd name="T21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2" h="70">
                <a:moveTo>
                  <a:pt x="36" y="0"/>
                </a:moveTo>
                <a:lnTo>
                  <a:pt x="48" y="24"/>
                </a:lnTo>
                <a:lnTo>
                  <a:pt x="72" y="27"/>
                </a:lnTo>
                <a:lnTo>
                  <a:pt x="56" y="46"/>
                </a:lnTo>
                <a:lnTo>
                  <a:pt x="58" y="70"/>
                </a:lnTo>
                <a:lnTo>
                  <a:pt x="36" y="58"/>
                </a:lnTo>
                <a:lnTo>
                  <a:pt x="12" y="70"/>
                </a:lnTo>
                <a:lnTo>
                  <a:pt x="17" y="46"/>
                </a:lnTo>
                <a:lnTo>
                  <a:pt x="0" y="27"/>
                </a:lnTo>
                <a:lnTo>
                  <a:pt x="24" y="24"/>
                </a:lnTo>
                <a:lnTo>
                  <a:pt x="36" y="0"/>
                </a:lnTo>
                <a:close/>
              </a:path>
            </a:pathLst>
          </a:cu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4" name="任意多边形: 形状 1053">
            <a:extLst>
              <a:ext uri="{FF2B5EF4-FFF2-40B4-BE49-F238E27FC236}">
                <a16:creationId xmlns:a16="http://schemas.microsoft.com/office/drawing/2014/main" id="{BF1194CF-1CE0-4706-AE98-BF751C897040}"/>
              </a:ext>
            </a:extLst>
          </p:cNvPr>
          <p:cNvSpPr/>
          <p:nvPr userDrawn="1"/>
        </p:nvSpPr>
        <p:spPr bwMode="auto">
          <a:xfrm>
            <a:off x="4433619" y="4010831"/>
            <a:ext cx="116784" cy="108998"/>
          </a:xfrm>
          <a:custGeom>
            <a:avLst/>
            <a:gdLst>
              <a:gd name="T0" fmla="*/ 39 w 75"/>
              <a:gd name="T1" fmla="*/ 0 h 70"/>
              <a:gd name="T2" fmla="*/ 48 w 75"/>
              <a:gd name="T3" fmla="*/ 24 h 70"/>
              <a:gd name="T4" fmla="*/ 75 w 75"/>
              <a:gd name="T5" fmla="*/ 27 h 70"/>
              <a:gd name="T6" fmla="*/ 56 w 75"/>
              <a:gd name="T7" fmla="*/ 46 h 70"/>
              <a:gd name="T8" fmla="*/ 60 w 75"/>
              <a:gd name="T9" fmla="*/ 70 h 70"/>
              <a:gd name="T10" fmla="*/ 39 w 75"/>
              <a:gd name="T11" fmla="*/ 58 h 70"/>
              <a:gd name="T12" fmla="*/ 15 w 75"/>
              <a:gd name="T13" fmla="*/ 70 h 70"/>
              <a:gd name="T14" fmla="*/ 20 w 75"/>
              <a:gd name="T15" fmla="*/ 46 h 70"/>
              <a:gd name="T16" fmla="*/ 0 w 75"/>
              <a:gd name="T17" fmla="*/ 27 h 70"/>
              <a:gd name="T18" fmla="*/ 27 w 75"/>
              <a:gd name="T19" fmla="*/ 24 h 70"/>
              <a:gd name="T20" fmla="*/ 39 w 75"/>
              <a:gd name="T21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5" h="70">
                <a:moveTo>
                  <a:pt x="39" y="0"/>
                </a:moveTo>
                <a:lnTo>
                  <a:pt x="48" y="24"/>
                </a:lnTo>
                <a:lnTo>
                  <a:pt x="75" y="27"/>
                </a:lnTo>
                <a:lnTo>
                  <a:pt x="56" y="46"/>
                </a:lnTo>
                <a:lnTo>
                  <a:pt x="60" y="70"/>
                </a:lnTo>
                <a:lnTo>
                  <a:pt x="39" y="58"/>
                </a:lnTo>
                <a:lnTo>
                  <a:pt x="15" y="70"/>
                </a:lnTo>
                <a:lnTo>
                  <a:pt x="20" y="46"/>
                </a:lnTo>
                <a:lnTo>
                  <a:pt x="0" y="27"/>
                </a:lnTo>
                <a:lnTo>
                  <a:pt x="27" y="24"/>
                </a:lnTo>
                <a:lnTo>
                  <a:pt x="3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5" name="任意多边形: 形状 1054">
            <a:extLst>
              <a:ext uri="{FF2B5EF4-FFF2-40B4-BE49-F238E27FC236}">
                <a16:creationId xmlns:a16="http://schemas.microsoft.com/office/drawing/2014/main" id="{944996AF-4343-4DEC-9B9C-C67C9EBD7C3F}"/>
              </a:ext>
            </a:extLst>
          </p:cNvPr>
          <p:cNvSpPr/>
          <p:nvPr userDrawn="1"/>
        </p:nvSpPr>
        <p:spPr bwMode="auto">
          <a:xfrm>
            <a:off x="4595560" y="4010831"/>
            <a:ext cx="115227" cy="108998"/>
          </a:xfrm>
          <a:custGeom>
            <a:avLst/>
            <a:gdLst>
              <a:gd name="T0" fmla="*/ 36 w 74"/>
              <a:gd name="T1" fmla="*/ 0 h 70"/>
              <a:gd name="T2" fmla="*/ 48 w 74"/>
              <a:gd name="T3" fmla="*/ 24 h 70"/>
              <a:gd name="T4" fmla="*/ 74 w 74"/>
              <a:gd name="T5" fmla="*/ 27 h 70"/>
              <a:gd name="T6" fmla="*/ 55 w 74"/>
              <a:gd name="T7" fmla="*/ 46 h 70"/>
              <a:gd name="T8" fmla="*/ 60 w 74"/>
              <a:gd name="T9" fmla="*/ 70 h 70"/>
              <a:gd name="T10" fmla="*/ 36 w 74"/>
              <a:gd name="T11" fmla="*/ 58 h 70"/>
              <a:gd name="T12" fmla="*/ 14 w 74"/>
              <a:gd name="T13" fmla="*/ 70 h 70"/>
              <a:gd name="T14" fmla="*/ 19 w 74"/>
              <a:gd name="T15" fmla="*/ 46 h 70"/>
              <a:gd name="T16" fmla="*/ 0 w 74"/>
              <a:gd name="T17" fmla="*/ 27 h 70"/>
              <a:gd name="T18" fmla="*/ 26 w 74"/>
              <a:gd name="T19" fmla="*/ 24 h 70"/>
              <a:gd name="T20" fmla="*/ 36 w 74"/>
              <a:gd name="T21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4" h="70">
                <a:moveTo>
                  <a:pt x="36" y="0"/>
                </a:moveTo>
                <a:lnTo>
                  <a:pt x="48" y="24"/>
                </a:lnTo>
                <a:lnTo>
                  <a:pt x="74" y="27"/>
                </a:lnTo>
                <a:lnTo>
                  <a:pt x="55" y="46"/>
                </a:lnTo>
                <a:lnTo>
                  <a:pt x="60" y="70"/>
                </a:lnTo>
                <a:lnTo>
                  <a:pt x="36" y="58"/>
                </a:lnTo>
                <a:lnTo>
                  <a:pt x="14" y="70"/>
                </a:lnTo>
                <a:lnTo>
                  <a:pt x="19" y="46"/>
                </a:lnTo>
                <a:lnTo>
                  <a:pt x="0" y="27"/>
                </a:lnTo>
                <a:lnTo>
                  <a:pt x="26" y="24"/>
                </a:lnTo>
                <a:lnTo>
                  <a:pt x="3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6" name="任意多边形: 形状 1055">
            <a:extLst>
              <a:ext uri="{FF2B5EF4-FFF2-40B4-BE49-F238E27FC236}">
                <a16:creationId xmlns:a16="http://schemas.microsoft.com/office/drawing/2014/main" id="{834A3BCA-8929-467A-9B3D-16B9FA70AC7D}"/>
              </a:ext>
            </a:extLst>
          </p:cNvPr>
          <p:cNvSpPr/>
          <p:nvPr userDrawn="1"/>
        </p:nvSpPr>
        <p:spPr bwMode="auto">
          <a:xfrm>
            <a:off x="3055568" y="2853891"/>
            <a:ext cx="1734632" cy="954515"/>
          </a:xfrm>
          <a:custGeom>
            <a:avLst/>
            <a:gdLst>
              <a:gd name="T0" fmla="*/ 463 w 463"/>
              <a:gd name="T1" fmla="*/ 16 h 255"/>
              <a:gd name="T2" fmla="*/ 463 w 463"/>
              <a:gd name="T3" fmla="*/ 239 h 255"/>
              <a:gd name="T4" fmla="*/ 447 w 463"/>
              <a:gd name="T5" fmla="*/ 255 h 255"/>
              <a:gd name="T6" fmla="*/ 16 w 463"/>
              <a:gd name="T7" fmla="*/ 255 h 255"/>
              <a:gd name="T8" fmla="*/ 0 w 463"/>
              <a:gd name="T9" fmla="*/ 239 h 255"/>
              <a:gd name="T10" fmla="*/ 0 w 463"/>
              <a:gd name="T11" fmla="*/ 16 h 255"/>
              <a:gd name="T12" fmla="*/ 16 w 463"/>
              <a:gd name="T13" fmla="*/ 0 h 255"/>
              <a:gd name="T14" fmla="*/ 447 w 463"/>
              <a:gd name="T15" fmla="*/ 0 h 255"/>
              <a:gd name="T16" fmla="*/ 463 w 463"/>
              <a:gd name="T17" fmla="*/ 1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3" h="255">
                <a:moveTo>
                  <a:pt x="463" y="16"/>
                </a:moveTo>
                <a:cubicBezTo>
                  <a:pt x="463" y="239"/>
                  <a:pt x="463" y="239"/>
                  <a:pt x="463" y="239"/>
                </a:cubicBezTo>
                <a:cubicBezTo>
                  <a:pt x="463" y="248"/>
                  <a:pt x="456" y="255"/>
                  <a:pt x="447" y="255"/>
                </a:cubicBezTo>
                <a:cubicBezTo>
                  <a:pt x="16" y="255"/>
                  <a:pt x="16" y="255"/>
                  <a:pt x="16" y="255"/>
                </a:cubicBezTo>
                <a:cubicBezTo>
                  <a:pt x="7" y="255"/>
                  <a:pt x="0" y="248"/>
                  <a:pt x="0" y="239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7" y="0"/>
                  <a:pt x="447" y="0"/>
                  <a:pt x="447" y="0"/>
                </a:cubicBezTo>
                <a:cubicBezTo>
                  <a:pt x="454" y="6"/>
                  <a:pt x="457" y="10"/>
                  <a:pt x="463" y="16"/>
                </a:cubicBezTo>
                <a:close/>
              </a:path>
            </a:pathLst>
          </a:custGeom>
          <a:solidFill>
            <a:srgbClr val="E9EB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7" name="任意多边形: 形状 1056">
            <a:extLst>
              <a:ext uri="{FF2B5EF4-FFF2-40B4-BE49-F238E27FC236}">
                <a16:creationId xmlns:a16="http://schemas.microsoft.com/office/drawing/2014/main" id="{E1F8699B-7588-4763-876A-F6FCD3EDA535}"/>
              </a:ext>
            </a:extLst>
          </p:cNvPr>
          <p:cNvSpPr/>
          <p:nvPr userDrawn="1"/>
        </p:nvSpPr>
        <p:spPr bwMode="auto">
          <a:xfrm>
            <a:off x="4036553" y="3029846"/>
            <a:ext cx="607277" cy="386166"/>
          </a:xfrm>
          <a:custGeom>
            <a:avLst/>
            <a:gdLst>
              <a:gd name="T0" fmla="*/ 126 w 162"/>
              <a:gd name="T1" fmla="*/ 30 h 103"/>
              <a:gd name="T2" fmla="*/ 112 w 162"/>
              <a:gd name="T3" fmla="*/ 33 h 103"/>
              <a:gd name="T4" fmla="*/ 70 w 162"/>
              <a:gd name="T5" fmla="*/ 0 h 103"/>
              <a:gd name="T6" fmla="*/ 28 w 162"/>
              <a:gd name="T7" fmla="*/ 39 h 103"/>
              <a:gd name="T8" fmla="*/ 0 w 162"/>
              <a:gd name="T9" fmla="*/ 71 h 103"/>
              <a:gd name="T10" fmla="*/ 32 w 162"/>
              <a:gd name="T11" fmla="*/ 103 h 103"/>
              <a:gd name="T12" fmla="*/ 39 w 162"/>
              <a:gd name="T13" fmla="*/ 102 h 103"/>
              <a:gd name="T14" fmla="*/ 126 w 162"/>
              <a:gd name="T15" fmla="*/ 102 h 103"/>
              <a:gd name="T16" fmla="*/ 162 w 162"/>
              <a:gd name="T17" fmla="*/ 66 h 103"/>
              <a:gd name="T18" fmla="*/ 126 w 162"/>
              <a:gd name="T19" fmla="*/ 3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2" h="103">
                <a:moveTo>
                  <a:pt x="126" y="30"/>
                </a:moveTo>
                <a:cubicBezTo>
                  <a:pt x="121" y="30"/>
                  <a:pt x="116" y="31"/>
                  <a:pt x="112" y="33"/>
                </a:cubicBezTo>
                <a:cubicBezTo>
                  <a:pt x="108" y="14"/>
                  <a:pt x="91" y="0"/>
                  <a:pt x="70" y="0"/>
                </a:cubicBezTo>
                <a:cubicBezTo>
                  <a:pt x="48" y="0"/>
                  <a:pt x="30" y="17"/>
                  <a:pt x="28" y="39"/>
                </a:cubicBezTo>
                <a:cubicBezTo>
                  <a:pt x="12" y="41"/>
                  <a:pt x="0" y="54"/>
                  <a:pt x="0" y="71"/>
                </a:cubicBezTo>
                <a:cubicBezTo>
                  <a:pt x="0" y="89"/>
                  <a:pt x="14" y="103"/>
                  <a:pt x="32" y="103"/>
                </a:cubicBezTo>
                <a:cubicBezTo>
                  <a:pt x="34" y="103"/>
                  <a:pt x="37" y="103"/>
                  <a:pt x="39" y="102"/>
                </a:cubicBezTo>
                <a:cubicBezTo>
                  <a:pt x="126" y="102"/>
                  <a:pt x="126" y="102"/>
                  <a:pt x="126" y="102"/>
                </a:cubicBezTo>
                <a:cubicBezTo>
                  <a:pt x="146" y="102"/>
                  <a:pt x="162" y="86"/>
                  <a:pt x="162" y="66"/>
                </a:cubicBezTo>
                <a:cubicBezTo>
                  <a:pt x="162" y="46"/>
                  <a:pt x="146" y="30"/>
                  <a:pt x="126" y="3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8" name="任意多边形: 形状 1057">
            <a:extLst>
              <a:ext uri="{FF2B5EF4-FFF2-40B4-BE49-F238E27FC236}">
                <a16:creationId xmlns:a16="http://schemas.microsoft.com/office/drawing/2014/main" id="{D0113921-6DC4-4D4B-B738-54D438AF6C8F}"/>
              </a:ext>
            </a:extLst>
          </p:cNvPr>
          <p:cNvSpPr/>
          <p:nvPr userDrawn="1"/>
        </p:nvSpPr>
        <p:spPr bwMode="auto">
          <a:xfrm>
            <a:off x="4224965" y="3349055"/>
            <a:ext cx="213326" cy="221111"/>
          </a:xfrm>
          <a:custGeom>
            <a:avLst/>
            <a:gdLst>
              <a:gd name="T0" fmla="*/ 120 w 137"/>
              <a:gd name="T1" fmla="*/ 62 h 142"/>
              <a:gd name="T2" fmla="*/ 120 w 137"/>
              <a:gd name="T3" fmla="*/ 0 h 142"/>
              <a:gd name="T4" fmla="*/ 16 w 137"/>
              <a:gd name="T5" fmla="*/ 0 h 142"/>
              <a:gd name="T6" fmla="*/ 16 w 137"/>
              <a:gd name="T7" fmla="*/ 62 h 142"/>
              <a:gd name="T8" fmla="*/ 0 w 137"/>
              <a:gd name="T9" fmla="*/ 62 h 142"/>
              <a:gd name="T10" fmla="*/ 69 w 137"/>
              <a:gd name="T11" fmla="*/ 142 h 142"/>
              <a:gd name="T12" fmla="*/ 137 w 137"/>
              <a:gd name="T13" fmla="*/ 62 h 142"/>
              <a:gd name="T14" fmla="*/ 120 w 137"/>
              <a:gd name="T15" fmla="*/ 6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7" h="142">
                <a:moveTo>
                  <a:pt x="120" y="62"/>
                </a:moveTo>
                <a:lnTo>
                  <a:pt x="120" y="0"/>
                </a:lnTo>
                <a:lnTo>
                  <a:pt x="16" y="0"/>
                </a:lnTo>
                <a:lnTo>
                  <a:pt x="16" y="62"/>
                </a:lnTo>
                <a:lnTo>
                  <a:pt x="0" y="62"/>
                </a:lnTo>
                <a:lnTo>
                  <a:pt x="69" y="142"/>
                </a:lnTo>
                <a:lnTo>
                  <a:pt x="137" y="62"/>
                </a:lnTo>
                <a:lnTo>
                  <a:pt x="120" y="62"/>
                </a:lnTo>
                <a:close/>
              </a:path>
            </a:pathLst>
          </a:custGeom>
          <a:solidFill>
            <a:srgbClr val="F9DC0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9" name="任意多边形: 形状 1058">
            <a:extLst>
              <a:ext uri="{FF2B5EF4-FFF2-40B4-BE49-F238E27FC236}">
                <a16:creationId xmlns:a16="http://schemas.microsoft.com/office/drawing/2014/main" id="{EF7117C8-F09D-416A-88A0-DFC7182A48A0}"/>
              </a:ext>
            </a:extLst>
          </p:cNvPr>
          <p:cNvSpPr/>
          <p:nvPr userDrawn="1"/>
        </p:nvSpPr>
        <p:spPr bwMode="auto">
          <a:xfrm>
            <a:off x="3148995" y="3490754"/>
            <a:ext cx="791018" cy="29586"/>
          </a:xfrm>
          <a:custGeom>
            <a:avLst/>
            <a:gdLst>
              <a:gd name="T0" fmla="*/ 5 w 211"/>
              <a:gd name="T1" fmla="*/ 8 h 8"/>
              <a:gd name="T2" fmla="*/ 206 w 211"/>
              <a:gd name="T3" fmla="*/ 8 h 8"/>
              <a:gd name="T4" fmla="*/ 206 w 211"/>
              <a:gd name="T5" fmla="*/ 0 h 8"/>
              <a:gd name="T6" fmla="*/ 5 w 211"/>
              <a:gd name="T7" fmla="*/ 0 h 8"/>
              <a:gd name="T8" fmla="*/ 5 w 211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8">
                <a:moveTo>
                  <a:pt x="5" y="8"/>
                </a:moveTo>
                <a:cubicBezTo>
                  <a:pt x="72" y="8"/>
                  <a:pt x="139" y="8"/>
                  <a:pt x="206" y="8"/>
                </a:cubicBezTo>
                <a:cubicBezTo>
                  <a:pt x="211" y="8"/>
                  <a:pt x="211" y="0"/>
                  <a:pt x="206" y="0"/>
                </a:cubicBezTo>
                <a:cubicBezTo>
                  <a:pt x="139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0" name="任意多边形: 形状 1059">
            <a:extLst>
              <a:ext uri="{FF2B5EF4-FFF2-40B4-BE49-F238E27FC236}">
                <a16:creationId xmlns:a16="http://schemas.microsoft.com/office/drawing/2014/main" id="{E2262A6F-FB42-46D7-9E42-B4FDBA427A73}"/>
              </a:ext>
            </a:extLst>
          </p:cNvPr>
          <p:cNvSpPr/>
          <p:nvPr userDrawn="1"/>
        </p:nvSpPr>
        <p:spPr bwMode="auto">
          <a:xfrm>
            <a:off x="3148995" y="3576395"/>
            <a:ext cx="791018" cy="31142"/>
          </a:xfrm>
          <a:custGeom>
            <a:avLst/>
            <a:gdLst>
              <a:gd name="T0" fmla="*/ 5 w 211"/>
              <a:gd name="T1" fmla="*/ 8 h 8"/>
              <a:gd name="T2" fmla="*/ 206 w 211"/>
              <a:gd name="T3" fmla="*/ 8 h 8"/>
              <a:gd name="T4" fmla="*/ 206 w 211"/>
              <a:gd name="T5" fmla="*/ 0 h 8"/>
              <a:gd name="T6" fmla="*/ 5 w 211"/>
              <a:gd name="T7" fmla="*/ 0 h 8"/>
              <a:gd name="T8" fmla="*/ 5 w 211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8">
                <a:moveTo>
                  <a:pt x="5" y="8"/>
                </a:moveTo>
                <a:cubicBezTo>
                  <a:pt x="72" y="8"/>
                  <a:pt x="139" y="8"/>
                  <a:pt x="206" y="8"/>
                </a:cubicBezTo>
                <a:cubicBezTo>
                  <a:pt x="211" y="8"/>
                  <a:pt x="211" y="0"/>
                  <a:pt x="206" y="0"/>
                </a:cubicBezTo>
                <a:cubicBezTo>
                  <a:pt x="139" y="0"/>
                  <a:pt x="72" y="0"/>
                  <a:pt x="5" y="0"/>
                </a:cubicBezTo>
                <a:cubicBezTo>
                  <a:pt x="0" y="0"/>
                  <a:pt x="0" y="8"/>
                  <a:pt x="5" y="8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1" name="任意多边形: 形状 1060">
            <a:extLst>
              <a:ext uri="{FF2B5EF4-FFF2-40B4-BE49-F238E27FC236}">
                <a16:creationId xmlns:a16="http://schemas.microsoft.com/office/drawing/2014/main" id="{92B6755B-771E-48C8-B8AC-6A5F7EDB4635}"/>
              </a:ext>
            </a:extLst>
          </p:cNvPr>
          <p:cNvSpPr/>
          <p:nvPr userDrawn="1"/>
        </p:nvSpPr>
        <p:spPr bwMode="auto">
          <a:xfrm>
            <a:off x="3148995" y="3663593"/>
            <a:ext cx="791018" cy="24914"/>
          </a:xfrm>
          <a:custGeom>
            <a:avLst/>
            <a:gdLst>
              <a:gd name="T0" fmla="*/ 5 w 211"/>
              <a:gd name="T1" fmla="*/ 7 h 7"/>
              <a:gd name="T2" fmla="*/ 206 w 211"/>
              <a:gd name="T3" fmla="*/ 7 h 7"/>
              <a:gd name="T4" fmla="*/ 206 w 211"/>
              <a:gd name="T5" fmla="*/ 0 h 7"/>
              <a:gd name="T6" fmla="*/ 5 w 211"/>
              <a:gd name="T7" fmla="*/ 0 h 7"/>
              <a:gd name="T8" fmla="*/ 5 w 211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7">
                <a:moveTo>
                  <a:pt x="5" y="7"/>
                </a:moveTo>
                <a:cubicBezTo>
                  <a:pt x="72" y="7"/>
                  <a:pt x="139" y="7"/>
                  <a:pt x="206" y="7"/>
                </a:cubicBezTo>
                <a:cubicBezTo>
                  <a:pt x="211" y="7"/>
                  <a:pt x="211" y="0"/>
                  <a:pt x="206" y="0"/>
                </a:cubicBezTo>
                <a:cubicBezTo>
                  <a:pt x="139" y="0"/>
                  <a:pt x="72" y="0"/>
                  <a:pt x="5" y="0"/>
                </a:cubicBezTo>
                <a:cubicBezTo>
                  <a:pt x="0" y="0"/>
                  <a:pt x="0" y="7"/>
                  <a:pt x="5" y="7"/>
                </a:cubicBezTo>
                <a:close/>
              </a:path>
            </a:pathLst>
          </a:custGeom>
          <a:solidFill>
            <a:srgbClr val="C5CA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2" name="矩形 1061">
            <a:extLst>
              <a:ext uri="{FF2B5EF4-FFF2-40B4-BE49-F238E27FC236}">
                <a16:creationId xmlns:a16="http://schemas.microsoft.com/office/drawing/2014/main" id="{B53FC748-FBD7-4898-B578-CF2758983FF1}"/>
              </a:ext>
            </a:extLst>
          </p:cNvPr>
          <p:cNvSpPr/>
          <p:nvPr userDrawn="1"/>
        </p:nvSpPr>
        <p:spPr bwMode="auto">
          <a:xfrm>
            <a:off x="3153666" y="3277427"/>
            <a:ext cx="767661" cy="6384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3" name="矩形 1062">
            <a:extLst>
              <a:ext uri="{FF2B5EF4-FFF2-40B4-BE49-F238E27FC236}">
                <a16:creationId xmlns:a16="http://schemas.microsoft.com/office/drawing/2014/main" id="{4658A6DB-D5A1-4A08-BF1C-B5EC4BF70FE9}"/>
              </a:ext>
            </a:extLst>
          </p:cNvPr>
          <p:cNvSpPr/>
          <p:nvPr userDrawn="1"/>
        </p:nvSpPr>
        <p:spPr bwMode="auto">
          <a:xfrm>
            <a:off x="3415262" y="3277427"/>
            <a:ext cx="506065" cy="63842"/>
          </a:xfrm>
          <a:prstGeom prst="rect">
            <a:avLst/>
          </a:pr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4" name="矩形 1063">
            <a:extLst>
              <a:ext uri="{FF2B5EF4-FFF2-40B4-BE49-F238E27FC236}">
                <a16:creationId xmlns:a16="http://schemas.microsoft.com/office/drawing/2014/main" id="{472228D5-9F04-4BDF-A08C-1E05E8F1970F}"/>
              </a:ext>
            </a:extLst>
          </p:cNvPr>
          <p:cNvSpPr/>
          <p:nvPr userDrawn="1"/>
        </p:nvSpPr>
        <p:spPr bwMode="auto">
          <a:xfrm>
            <a:off x="3153666" y="3101473"/>
            <a:ext cx="767661" cy="6384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5" name="矩形 1064">
            <a:extLst>
              <a:ext uri="{FF2B5EF4-FFF2-40B4-BE49-F238E27FC236}">
                <a16:creationId xmlns:a16="http://schemas.microsoft.com/office/drawing/2014/main" id="{F1B4309B-C16D-45A0-93D5-71DFA8893830}"/>
              </a:ext>
            </a:extLst>
          </p:cNvPr>
          <p:cNvSpPr/>
          <p:nvPr userDrawn="1"/>
        </p:nvSpPr>
        <p:spPr bwMode="auto">
          <a:xfrm>
            <a:off x="3678416" y="3101473"/>
            <a:ext cx="242910" cy="63842"/>
          </a:xfrm>
          <a:prstGeom prst="rect">
            <a:avLst/>
          </a:prstGeom>
          <a:solidFill>
            <a:srgbClr val="3370DF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6" name="任意多边形: 形状 1065">
            <a:extLst>
              <a:ext uri="{FF2B5EF4-FFF2-40B4-BE49-F238E27FC236}">
                <a16:creationId xmlns:a16="http://schemas.microsoft.com/office/drawing/2014/main" id="{2A2EFEF1-DFD2-4B9B-A9FE-2980896F346D}"/>
              </a:ext>
            </a:extLst>
          </p:cNvPr>
          <p:cNvSpPr/>
          <p:nvPr userDrawn="1"/>
        </p:nvSpPr>
        <p:spPr bwMode="auto">
          <a:xfrm>
            <a:off x="4973940" y="2364833"/>
            <a:ext cx="1421652" cy="2399524"/>
          </a:xfrm>
          <a:custGeom>
            <a:avLst/>
            <a:gdLst>
              <a:gd name="T0" fmla="*/ 36 w 380"/>
              <a:gd name="T1" fmla="*/ 641 h 641"/>
              <a:gd name="T2" fmla="*/ 4 w 380"/>
              <a:gd name="T3" fmla="*/ 514 h 641"/>
              <a:gd name="T4" fmla="*/ 111 w 380"/>
              <a:gd name="T5" fmla="*/ 314 h 641"/>
              <a:gd name="T6" fmla="*/ 118 w 380"/>
              <a:gd name="T7" fmla="*/ 311 h 641"/>
              <a:gd name="T8" fmla="*/ 131 w 380"/>
              <a:gd name="T9" fmla="*/ 284 h 641"/>
              <a:gd name="T10" fmla="*/ 242 w 380"/>
              <a:gd name="T11" fmla="*/ 185 h 641"/>
              <a:gd name="T12" fmla="*/ 335 w 380"/>
              <a:gd name="T13" fmla="*/ 1 h 641"/>
              <a:gd name="T14" fmla="*/ 338 w 380"/>
              <a:gd name="T15" fmla="*/ 0 h 641"/>
              <a:gd name="T16" fmla="*/ 244 w 380"/>
              <a:gd name="T17" fmla="*/ 188 h 641"/>
              <a:gd name="T18" fmla="*/ 134 w 380"/>
              <a:gd name="T19" fmla="*/ 286 h 641"/>
              <a:gd name="T20" fmla="*/ 122 w 380"/>
              <a:gd name="T21" fmla="*/ 310 h 641"/>
              <a:gd name="T22" fmla="*/ 157 w 380"/>
              <a:gd name="T23" fmla="*/ 302 h 641"/>
              <a:gd name="T24" fmla="*/ 228 w 380"/>
              <a:gd name="T25" fmla="*/ 339 h 641"/>
              <a:gd name="T26" fmla="*/ 217 w 380"/>
              <a:gd name="T27" fmla="*/ 400 h 641"/>
              <a:gd name="T28" fmla="*/ 151 w 380"/>
              <a:gd name="T29" fmla="*/ 422 h 641"/>
              <a:gd name="T30" fmla="*/ 114 w 380"/>
              <a:gd name="T31" fmla="*/ 384 h 641"/>
              <a:gd name="T32" fmla="*/ 116 w 380"/>
              <a:gd name="T33" fmla="*/ 316 h 641"/>
              <a:gd name="T34" fmla="*/ 112 w 380"/>
              <a:gd name="T35" fmla="*/ 317 h 641"/>
              <a:gd name="T36" fmla="*/ 8 w 380"/>
              <a:gd name="T37" fmla="*/ 514 h 641"/>
              <a:gd name="T38" fmla="*/ 40 w 380"/>
              <a:gd name="T39" fmla="*/ 640 h 641"/>
              <a:gd name="T40" fmla="*/ 36 w 380"/>
              <a:gd name="T41" fmla="*/ 641 h 641"/>
              <a:gd name="T42" fmla="*/ 120 w 380"/>
              <a:gd name="T43" fmla="*/ 314 h 641"/>
              <a:gd name="T44" fmla="*/ 117 w 380"/>
              <a:gd name="T45" fmla="*/ 383 h 641"/>
              <a:gd name="T46" fmla="*/ 153 w 380"/>
              <a:gd name="T47" fmla="*/ 419 h 641"/>
              <a:gd name="T48" fmla="*/ 215 w 380"/>
              <a:gd name="T49" fmla="*/ 398 h 641"/>
              <a:gd name="T50" fmla="*/ 225 w 380"/>
              <a:gd name="T51" fmla="*/ 340 h 641"/>
              <a:gd name="T52" fmla="*/ 120 w 380"/>
              <a:gd name="T53" fmla="*/ 314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0" h="641">
                <a:moveTo>
                  <a:pt x="36" y="641"/>
                </a:moveTo>
                <a:cubicBezTo>
                  <a:pt x="36" y="641"/>
                  <a:pt x="9" y="583"/>
                  <a:pt x="4" y="514"/>
                </a:cubicBezTo>
                <a:cubicBezTo>
                  <a:pt x="0" y="450"/>
                  <a:pt x="16" y="364"/>
                  <a:pt x="111" y="314"/>
                </a:cubicBezTo>
                <a:cubicBezTo>
                  <a:pt x="111" y="314"/>
                  <a:pt x="114" y="313"/>
                  <a:pt x="118" y="311"/>
                </a:cubicBezTo>
                <a:cubicBezTo>
                  <a:pt x="121" y="302"/>
                  <a:pt x="126" y="293"/>
                  <a:pt x="131" y="284"/>
                </a:cubicBezTo>
                <a:cubicBezTo>
                  <a:pt x="158" y="242"/>
                  <a:pt x="201" y="213"/>
                  <a:pt x="242" y="185"/>
                </a:cubicBezTo>
                <a:cubicBezTo>
                  <a:pt x="314" y="136"/>
                  <a:pt x="375" y="95"/>
                  <a:pt x="335" y="1"/>
                </a:cubicBezTo>
                <a:cubicBezTo>
                  <a:pt x="338" y="0"/>
                  <a:pt x="338" y="0"/>
                  <a:pt x="338" y="0"/>
                </a:cubicBezTo>
                <a:cubicBezTo>
                  <a:pt x="380" y="96"/>
                  <a:pt x="314" y="140"/>
                  <a:pt x="244" y="188"/>
                </a:cubicBezTo>
                <a:cubicBezTo>
                  <a:pt x="203" y="215"/>
                  <a:pt x="160" y="244"/>
                  <a:pt x="134" y="286"/>
                </a:cubicBezTo>
                <a:cubicBezTo>
                  <a:pt x="130" y="294"/>
                  <a:pt x="125" y="302"/>
                  <a:pt x="122" y="310"/>
                </a:cubicBezTo>
                <a:cubicBezTo>
                  <a:pt x="131" y="307"/>
                  <a:pt x="143" y="303"/>
                  <a:pt x="157" y="302"/>
                </a:cubicBezTo>
                <a:cubicBezTo>
                  <a:pt x="190" y="300"/>
                  <a:pt x="214" y="313"/>
                  <a:pt x="228" y="339"/>
                </a:cubicBezTo>
                <a:cubicBezTo>
                  <a:pt x="238" y="358"/>
                  <a:pt x="234" y="381"/>
                  <a:pt x="217" y="400"/>
                </a:cubicBezTo>
                <a:cubicBezTo>
                  <a:pt x="203" y="417"/>
                  <a:pt x="177" y="431"/>
                  <a:pt x="151" y="422"/>
                </a:cubicBezTo>
                <a:cubicBezTo>
                  <a:pt x="134" y="416"/>
                  <a:pt x="121" y="403"/>
                  <a:pt x="114" y="384"/>
                </a:cubicBezTo>
                <a:cubicBezTo>
                  <a:pt x="107" y="364"/>
                  <a:pt x="108" y="340"/>
                  <a:pt x="116" y="316"/>
                </a:cubicBezTo>
                <a:cubicBezTo>
                  <a:pt x="114" y="317"/>
                  <a:pt x="112" y="317"/>
                  <a:pt x="112" y="317"/>
                </a:cubicBezTo>
                <a:cubicBezTo>
                  <a:pt x="19" y="366"/>
                  <a:pt x="4" y="451"/>
                  <a:pt x="8" y="514"/>
                </a:cubicBezTo>
                <a:cubicBezTo>
                  <a:pt x="12" y="582"/>
                  <a:pt x="39" y="639"/>
                  <a:pt x="40" y="640"/>
                </a:cubicBezTo>
                <a:lnTo>
                  <a:pt x="36" y="641"/>
                </a:lnTo>
                <a:close/>
                <a:moveTo>
                  <a:pt x="120" y="314"/>
                </a:moveTo>
                <a:cubicBezTo>
                  <a:pt x="112" y="339"/>
                  <a:pt x="110" y="363"/>
                  <a:pt x="117" y="383"/>
                </a:cubicBezTo>
                <a:cubicBezTo>
                  <a:pt x="124" y="401"/>
                  <a:pt x="136" y="413"/>
                  <a:pt x="153" y="419"/>
                </a:cubicBezTo>
                <a:cubicBezTo>
                  <a:pt x="176" y="427"/>
                  <a:pt x="201" y="414"/>
                  <a:pt x="215" y="398"/>
                </a:cubicBezTo>
                <a:cubicBezTo>
                  <a:pt x="230" y="380"/>
                  <a:pt x="234" y="358"/>
                  <a:pt x="225" y="340"/>
                </a:cubicBezTo>
                <a:cubicBezTo>
                  <a:pt x="200" y="292"/>
                  <a:pt x="142" y="307"/>
                  <a:pt x="120" y="314"/>
                </a:cubicBezTo>
                <a:close/>
              </a:path>
            </a:pathLst>
          </a:custGeom>
          <a:solidFill>
            <a:srgbClr val="FFBE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7" name="任意多边形: 形状 1066">
            <a:extLst>
              <a:ext uri="{FF2B5EF4-FFF2-40B4-BE49-F238E27FC236}">
                <a16:creationId xmlns:a16="http://schemas.microsoft.com/office/drawing/2014/main" id="{394B5813-BB6F-49B8-BB6F-6B7B2251B7C6}"/>
              </a:ext>
            </a:extLst>
          </p:cNvPr>
          <p:cNvSpPr/>
          <p:nvPr userDrawn="1"/>
        </p:nvSpPr>
        <p:spPr bwMode="auto">
          <a:xfrm>
            <a:off x="6174480" y="2335248"/>
            <a:ext cx="76299" cy="60728"/>
          </a:xfrm>
          <a:custGeom>
            <a:avLst/>
            <a:gdLst>
              <a:gd name="T0" fmla="*/ 49 w 49"/>
              <a:gd name="T1" fmla="*/ 39 h 39"/>
              <a:gd name="T2" fmla="*/ 0 w 49"/>
              <a:gd name="T3" fmla="*/ 15 h 39"/>
              <a:gd name="T4" fmla="*/ 17 w 49"/>
              <a:gd name="T5" fmla="*/ 0 h 39"/>
              <a:gd name="T6" fmla="*/ 49 w 49"/>
              <a:gd name="T7" fmla="*/ 3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" h="39">
                <a:moveTo>
                  <a:pt x="49" y="39"/>
                </a:moveTo>
                <a:lnTo>
                  <a:pt x="0" y="15"/>
                </a:lnTo>
                <a:lnTo>
                  <a:pt x="17" y="0"/>
                </a:lnTo>
                <a:lnTo>
                  <a:pt x="49" y="39"/>
                </a:lnTo>
                <a:close/>
              </a:path>
            </a:pathLst>
          </a:custGeom>
          <a:solidFill>
            <a:srgbClr val="EC98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8" name="任意多边形: 形状 1067">
            <a:extLst>
              <a:ext uri="{FF2B5EF4-FFF2-40B4-BE49-F238E27FC236}">
                <a16:creationId xmlns:a16="http://schemas.microsoft.com/office/drawing/2014/main" id="{00278533-D636-4F23-BF86-87AB016CDE61}"/>
              </a:ext>
            </a:extLst>
          </p:cNvPr>
          <p:cNvSpPr/>
          <p:nvPr userDrawn="1"/>
        </p:nvSpPr>
        <p:spPr bwMode="auto">
          <a:xfrm>
            <a:off x="5961154" y="2087665"/>
            <a:ext cx="378381" cy="330110"/>
          </a:xfrm>
          <a:custGeom>
            <a:avLst/>
            <a:gdLst>
              <a:gd name="T0" fmla="*/ 0 w 101"/>
              <a:gd name="T1" fmla="*/ 0 h 88"/>
              <a:gd name="T2" fmla="*/ 39 w 101"/>
              <a:gd name="T3" fmla="*/ 88 h 88"/>
              <a:gd name="T4" fmla="*/ 64 w 101"/>
              <a:gd name="T5" fmla="*/ 66 h 88"/>
              <a:gd name="T6" fmla="*/ 77 w 101"/>
              <a:gd name="T7" fmla="*/ 82 h 88"/>
              <a:gd name="T8" fmla="*/ 77 w 101"/>
              <a:gd name="T9" fmla="*/ 59 h 88"/>
              <a:gd name="T10" fmla="*/ 101 w 101"/>
              <a:gd name="T11" fmla="*/ 44 h 88"/>
              <a:gd name="T12" fmla="*/ 0 w 101"/>
              <a:gd name="T13" fmla="*/ 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1" h="88">
                <a:moveTo>
                  <a:pt x="0" y="0"/>
                </a:moveTo>
                <a:cubicBezTo>
                  <a:pt x="39" y="88"/>
                  <a:pt x="39" y="88"/>
                  <a:pt x="39" y="88"/>
                </a:cubicBezTo>
                <a:cubicBezTo>
                  <a:pt x="64" y="66"/>
                  <a:pt x="64" y="66"/>
                  <a:pt x="64" y="66"/>
                </a:cubicBezTo>
                <a:cubicBezTo>
                  <a:pt x="64" y="66"/>
                  <a:pt x="77" y="85"/>
                  <a:pt x="77" y="82"/>
                </a:cubicBezTo>
                <a:cubicBezTo>
                  <a:pt x="77" y="79"/>
                  <a:pt x="77" y="59"/>
                  <a:pt x="77" y="59"/>
                </a:cubicBezTo>
                <a:cubicBezTo>
                  <a:pt x="101" y="44"/>
                  <a:pt x="101" y="44"/>
                  <a:pt x="101" y="44"/>
                </a:cubicBezTo>
                <a:lnTo>
                  <a:pt x="0" y="0"/>
                </a:lnTo>
                <a:close/>
              </a:path>
            </a:pathLst>
          </a:custGeom>
          <a:solidFill>
            <a:srgbClr val="FFBE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9" name="任意多边形: 形状 1068">
            <a:extLst>
              <a:ext uri="{FF2B5EF4-FFF2-40B4-BE49-F238E27FC236}">
                <a16:creationId xmlns:a16="http://schemas.microsoft.com/office/drawing/2014/main" id="{E6A24D02-C3D5-49A7-BC93-67548CF97412}"/>
              </a:ext>
            </a:extLst>
          </p:cNvPr>
          <p:cNvSpPr/>
          <p:nvPr userDrawn="1"/>
        </p:nvSpPr>
        <p:spPr bwMode="auto">
          <a:xfrm>
            <a:off x="5965826" y="2087665"/>
            <a:ext cx="280281" cy="295854"/>
          </a:xfrm>
          <a:custGeom>
            <a:avLst/>
            <a:gdLst>
              <a:gd name="T0" fmla="*/ 0 w 180"/>
              <a:gd name="T1" fmla="*/ 0 h 190"/>
              <a:gd name="T2" fmla="*/ 178 w 180"/>
              <a:gd name="T3" fmla="*/ 142 h 190"/>
              <a:gd name="T4" fmla="*/ 180 w 180"/>
              <a:gd name="T5" fmla="*/ 190 h 190"/>
              <a:gd name="T6" fmla="*/ 159 w 180"/>
              <a:gd name="T7" fmla="*/ 157 h 190"/>
              <a:gd name="T8" fmla="*/ 0 w 180"/>
              <a:gd name="T9" fmla="*/ 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0" h="190">
                <a:moveTo>
                  <a:pt x="0" y="0"/>
                </a:moveTo>
                <a:lnTo>
                  <a:pt x="178" y="142"/>
                </a:lnTo>
                <a:lnTo>
                  <a:pt x="180" y="190"/>
                </a:lnTo>
                <a:lnTo>
                  <a:pt x="159" y="157"/>
                </a:lnTo>
                <a:lnTo>
                  <a:pt x="0" y="0"/>
                </a:lnTo>
                <a:close/>
              </a:path>
            </a:pathLst>
          </a:custGeom>
          <a:solidFill>
            <a:srgbClr val="F4AB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811" name="任意多边形: 形状 9810">
            <a:extLst>
              <a:ext uri="{FF2B5EF4-FFF2-40B4-BE49-F238E27FC236}">
                <a16:creationId xmlns:a16="http://schemas.microsoft.com/office/drawing/2014/main" id="{761C99D1-614E-4CA4-B573-09F5B36425FF}"/>
              </a:ext>
            </a:extLst>
          </p:cNvPr>
          <p:cNvSpPr>
            <a:spLocks/>
          </p:cNvSpPr>
          <p:nvPr userDrawn="1"/>
        </p:nvSpPr>
        <p:spPr bwMode="auto">
          <a:xfrm>
            <a:off x="0" y="4351338"/>
            <a:ext cx="12193588" cy="2516188"/>
          </a:xfrm>
          <a:custGeom>
            <a:avLst/>
            <a:gdLst>
              <a:gd name="T0" fmla="*/ 0 w 6400"/>
              <a:gd name="T1" fmla="*/ 192 h 1320"/>
              <a:gd name="T2" fmla="*/ 360 w 6400"/>
              <a:gd name="T3" fmla="*/ 352 h 1320"/>
              <a:gd name="T4" fmla="*/ 563 w 6400"/>
              <a:gd name="T5" fmla="*/ 200 h 1320"/>
              <a:gd name="T6" fmla="*/ 1130 w 6400"/>
              <a:gd name="T7" fmla="*/ 301 h 1320"/>
              <a:gd name="T8" fmla="*/ 1483 w 6400"/>
              <a:gd name="T9" fmla="*/ 398 h 1320"/>
              <a:gd name="T10" fmla="*/ 1727 w 6400"/>
              <a:gd name="T11" fmla="*/ 170 h 1320"/>
              <a:gd name="T12" fmla="*/ 2210 w 6400"/>
              <a:gd name="T13" fmla="*/ 246 h 1320"/>
              <a:gd name="T14" fmla="*/ 2382 w 6400"/>
              <a:gd name="T15" fmla="*/ 434 h 1320"/>
              <a:gd name="T16" fmla="*/ 2949 w 6400"/>
              <a:gd name="T17" fmla="*/ 603 h 1320"/>
              <a:gd name="T18" fmla="*/ 3656 w 6400"/>
              <a:gd name="T19" fmla="*/ 204 h 1320"/>
              <a:gd name="T20" fmla="*/ 4302 w 6400"/>
              <a:gd name="T21" fmla="*/ 327 h 1320"/>
              <a:gd name="T22" fmla="*/ 4897 w 6400"/>
              <a:gd name="T23" fmla="*/ 572 h 1320"/>
              <a:gd name="T24" fmla="*/ 5144 w 6400"/>
              <a:gd name="T25" fmla="*/ 360 h 1320"/>
              <a:gd name="T26" fmla="*/ 5653 w 6400"/>
              <a:gd name="T27" fmla="*/ 253 h 1320"/>
              <a:gd name="T28" fmla="*/ 6121 w 6400"/>
              <a:gd name="T29" fmla="*/ 220 h 1320"/>
              <a:gd name="T30" fmla="*/ 6126 w 6400"/>
              <a:gd name="T31" fmla="*/ 212 h 1320"/>
              <a:gd name="T32" fmla="*/ 6297 w 6400"/>
              <a:gd name="T33" fmla="*/ 30 h 1320"/>
              <a:gd name="T34" fmla="*/ 6400 w 6400"/>
              <a:gd name="T35" fmla="*/ 100 h 1320"/>
              <a:gd name="T36" fmla="*/ 6400 w 6400"/>
              <a:gd name="T37" fmla="*/ 1320 h 1320"/>
              <a:gd name="T38" fmla="*/ 0 w 6400"/>
              <a:gd name="T39" fmla="*/ 1320 h 1320"/>
              <a:gd name="T40" fmla="*/ 0 w 6400"/>
              <a:gd name="T41" fmla="*/ 192 h 1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400" h="1320">
                <a:moveTo>
                  <a:pt x="0" y="192"/>
                </a:moveTo>
                <a:cubicBezTo>
                  <a:pt x="0" y="192"/>
                  <a:pt x="216" y="384"/>
                  <a:pt x="360" y="352"/>
                </a:cubicBezTo>
                <a:cubicBezTo>
                  <a:pt x="360" y="352"/>
                  <a:pt x="415" y="339"/>
                  <a:pt x="563" y="200"/>
                </a:cubicBezTo>
                <a:cubicBezTo>
                  <a:pt x="776" y="0"/>
                  <a:pt x="1130" y="301"/>
                  <a:pt x="1130" y="301"/>
                </a:cubicBezTo>
                <a:cubicBezTo>
                  <a:pt x="1130" y="301"/>
                  <a:pt x="1330" y="448"/>
                  <a:pt x="1483" y="398"/>
                </a:cubicBezTo>
                <a:cubicBezTo>
                  <a:pt x="1636" y="348"/>
                  <a:pt x="1630" y="251"/>
                  <a:pt x="1727" y="170"/>
                </a:cubicBezTo>
                <a:cubicBezTo>
                  <a:pt x="1824" y="88"/>
                  <a:pt x="1984" y="40"/>
                  <a:pt x="2210" y="246"/>
                </a:cubicBezTo>
                <a:cubicBezTo>
                  <a:pt x="2210" y="246"/>
                  <a:pt x="2303" y="336"/>
                  <a:pt x="2382" y="434"/>
                </a:cubicBezTo>
                <a:cubicBezTo>
                  <a:pt x="2460" y="532"/>
                  <a:pt x="2659" y="673"/>
                  <a:pt x="2949" y="603"/>
                </a:cubicBezTo>
                <a:cubicBezTo>
                  <a:pt x="3240" y="532"/>
                  <a:pt x="3552" y="300"/>
                  <a:pt x="3656" y="204"/>
                </a:cubicBezTo>
                <a:cubicBezTo>
                  <a:pt x="3760" y="108"/>
                  <a:pt x="4080" y="54"/>
                  <a:pt x="4302" y="327"/>
                </a:cubicBezTo>
                <a:cubicBezTo>
                  <a:pt x="4524" y="600"/>
                  <a:pt x="4631" y="681"/>
                  <a:pt x="4897" y="572"/>
                </a:cubicBezTo>
                <a:cubicBezTo>
                  <a:pt x="4897" y="572"/>
                  <a:pt x="5056" y="488"/>
                  <a:pt x="5144" y="360"/>
                </a:cubicBezTo>
                <a:cubicBezTo>
                  <a:pt x="5232" y="232"/>
                  <a:pt x="5446" y="111"/>
                  <a:pt x="5653" y="253"/>
                </a:cubicBezTo>
                <a:cubicBezTo>
                  <a:pt x="5859" y="395"/>
                  <a:pt x="5990" y="412"/>
                  <a:pt x="6121" y="220"/>
                </a:cubicBezTo>
                <a:cubicBezTo>
                  <a:pt x="6123" y="217"/>
                  <a:pt x="6124" y="215"/>
                  <a:pt x="6126" y="212"/>
                </a:cubicBezTo>
                <a:cubicBezTo>
                  <a:pt x="6136" y="185"/>
                  <a:pt x="6204" y="24"/>
                  <a:pt x="6297" y="30"/>
                </a:cubicBezTo>
                <a:cubicBezTo>
                  <a:pt x="6297" y="30"/>
                  <a:pt x="6344" y="24"/>
                  <a:pt x="6400" y="100"/>
                </a:cubicBezTo>
                <a:cubicBezTo>
                  <a:pt x="6400" y="1320"/>
                  <a:pt x="6400" y="1320"/>
                  <a:pt x="6400" y="1320"/>
                </a:cubicBezTo>
                <a:cubicBezTo>
                  <a:pt x="0" y="1320"/>
                  <a:pt x="0" y="1320"/>
                  <a:pt x="0" y="1320"/>
                </a:cubicBezTo>
                <a:lnTo>
                  <a:pt x="0" y="19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9F4BC11-FDBF-442F-8C2A-34693F91DF81}"/>
              </a:ext>
            </a:extLst>
          </p:cNvPr>
          <p:cNvGrpSpPr/>
          <p:nvPr userDrawn="1"/>
        </p:nvGrpSpPr>
        <p:grpSpPr>
          <a:xfrm>
            <a:off x="319412" y="2549503"/>
            <a:ext cx="1941463" cy="3237403"/>
            <a:chOff x="336835" y="2473831"/>
            <a:chExt cx="1854531" cy="3092443"/>
          </a:xfrm>
        </p:grpSpPr>
        <p:sp>
          <p:nvSpPr>
            <p:cNvPr id="1070" name="椭圆 1069">
              <a:extLst>
                <a:ext uri="{FF2B5EF4-FFF2-40B4-BE49-F238E27FC236}">
                  <a16:creationId xmlns:a16="http://schemas.microsoft.com/office/drawing/2014/main" id="{F0D5B7CB-AE33-401F-A31F-89CDD1A0290E}"/>
                </a:ext>
              </a:extLst>
            </p:cNvPr>
            <p:cNvSpPr/>
            <p:nvPr userDrawn="1"/>
          </p:nvSpPr>
          <p:spPr bwMode="auto">
            <a:xfrm>
              <a:off x="336835" y="5505546"/>
              <a:ext cx="1854531" cy="60728"/>
            </a:xfrm>
            <a:prstGeom prst="ellipse">
              <a:avLst/>
            </a:prstGeom>
            <a:solidFill>
              <a:srgbClr val="EC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C624DBB5-3EAD-4C99-B99E-DBE9880FEB10}"/>
                </a:ext>
              </a:extLst>
            </p:cNvPr>
            <p:cNvGrpSpPr/>
            <p:nvPr userDrawn="1"/>
          </p:nvGrpSpPr>
          <p:grpSpPr>
            <a:xfrm>
              <a:off x="749471" y="2473831"/>
              <a:ext cx="1396738" cy="3050401"/>
              <a:chOff x="749471" y="2473831"/>
              <a:chExt cx="1396738" cy="3050401"/>
            </a:xfrm>
          </p:grpSpPr>
          <p:sp>
            <p:nvSpPr>
              <p:cNvPr id="1071" name="任意多边形: 形状 1070">
                <a:extLst>
                  <a:ext uri="{FF2B5EF4-FFF2-40B4-BE49-F238E27FC236}">
                    <a16:creationId xmlns:a16="http://schemas.microsoft.com/office/drawing/2014/main" id="{82940203-21D9-454A-AFE8-E22C46263C88}"/>
                  </a:ext>
                </a:extLst>
              </p:cNvPr>
              <p:cNvSpPr/>
              <p:nvPr userDrawn="1"/>
            </p:nvSpPr>
            <p:spPr bwMode="auto">
              <a:xfrm>
                <a:off x="1037539" y="3158964"/>
                <a:ext cx="482708" cy="520079"/>
              </a:xfrm>
              <a:custGeom>
                <a:avLst/>
                <a:gdLst>
                  <a:gd name="T0" fmla="*/ 42 w 129"/>
                  <a:gd name="T1" fmla="*/ 0 h 139"/>
                  <a:gd name="T2" fmla="*/ 81 w 129"/>
                  <a:gd name="T3" fmla="*/ 0 h 139"/>
                  <a:gd name="T4" fmla="*/ 110 w 129"/>
                  <a:gd name="T5" fmla="*/ 20 h 139"/>
                  <a:gd name="T6" fmla="*/ 112 w 129"/>
                  <a:gd name="T7" fmla="*/ 92 h 139"/>
                  <a:gd name="T8" fmla="*/ 98 w 129"/>
                  <a:gd name="T9" fmla="*/ 137 h 139"/>
                  <a:gd name="T10" fmla="*/ 21 w 129"/>
                  <a:gd name="T11" fmla="*/ 139 h 139"/>
                  <a:gd name="T12" fmla="*/ 2 w 129"/>
                  <a:gd name="T13" fmla="*/ 25 h 139"/>
                  <a:gd name="T14" fmla="*/ 16 w 129"/>
                  <a:gd name="T15" fmla="*/ 4 h 139"/>
                  <a:gd name="T16" fmla="*/ 42 w 129"/>
                  <a:gd name="T17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139">
                    <a:moveTo>
                      <a:pt x="42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99" y="2"/>
                      <a:pt x="110" y="20"/>
                    </a:cubicBezTo>
                    <a:cubicBezTo>
                      <a:pt x="120" y="36"/>
                      <a:pt x="129" y="71"/>
                      <a:pt x="112" y="92"/>
                    </a:cubicBezTo>
                    <a:cubicBezTo>
                      <a:pt x="112" y="92"/>
                      <a:pt x="97" y="126"/>
                      <a:pt x="98" y="137"/>
                    </a:cubicBezTo>
                    <a:cubicBezTo>
                      <a:pt x="21" y="139"/>
                      <a:pt x="21" y="139"/>
                      <a:pt x="21" y="139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0" y="15"/>
                      <a:pt x="7" y="6"/>
                      <a:pt x="16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974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2" name="任意多边形: 形状 1071">
                <a:extLst>
                  <a:ext uri="{FF2B5EF4-FFF2-40B4-BE49-F238E27FC236}">
                    <a16:creationId xmlns:a16="http://schemas.microsoft.com/office/drawing/2014/main" id="{C13D8AE1-FD68-49B3-A3DD-17C886138672}"/>
                  </a:ext>
                </a:extLst>
              </p:cNvPr>
              <p:cNvSpPr/>
              <p:nvPr userDrawn="1"/>
            </p:nvSpPr>
            <p:spPr bwMode="auto">
              <a:xfrm>
                <a:off x="828885" y="3095123"/>
                <a:ext cx="389281" cy="864202"/>
              </a:xfrm>
              <a:custGeom>
                <a:avLst/>
                <a:gdLst>
                  <a:gd name="T0" fmla="*/ 90 w 104"/>
                  <a:gd name="T1" fmla="*/ 23 h 231"/>
                  <a:gd name="T2" fmla="*/ 44 w 104"/>
                  <a:gd name="T3" fmla="*/ 135 h 231"/>
                  <a:gd name="T4" fmla="*/ 104 w 104"/>
                  <a:gd name="T5" fmla="*/ 216 h 231"/>
                  <a:gd name="T6" fmla="*/ 89 w 104"/>
                  <a:gd name="T7" fmla="*/ 231 h 231"/>
                  <a:gd name="T8" fmla="*/ 20 w 104"/>
                  <a:gd name="T9" fmla="*/ 144 h 231"/>
                  <a:gd name="T10" fmla="*/ 90 w 104"/>
                  <a:gd name="T11" fmla="*/ 23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231">
                    <a:moveTo>
                      <a:pt x="90" y="23"/>
                    </a:moveTo>
                    <a:cubicBezTo>
                      <a:pt x="94" y="27"/>
                      <a:pt x="103" y="53"/>
                      <a:pt x="44" y="135"/>
                    </a:cubicBezTo>
                    <a:cubicBezTo>
                      <a:pt x="44" y="135"/>
                      <a:pt x="93" y="188"/>
                      <a:pt x="104" y="216"/>
                    </a:cubicBezTo>
                    <a:cubicBezTo>
                      <a:pt x="89" y="231"/>
                      <a:pt x="89" y="231"/>
                      <a:pt x="89" y="231"/>
                    </a:cubicBezTo>
                    <a:cubicBezTo>
                      <a:pt x="89" y="231"/>
                      <a:pt x="41" y="177"/>
                      <a:pt x="20" y="144"/>
                    </a:cubicBezTo>
                    <a:cubicBezTo>
                      <a:pt x="0" y="111"/>
                      <a:pt x="67" y="0"/>
                      <a:pt x="90" y="23"/>
                    </a:cubicBezTo>
                    <a:close/>
                  </a:path>
                </a:pathLst>
              </a:custGeom>
              <a:solidFill>
                <a:srgbClr val="FFC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3" name="任意多边形: 形状 1072">
                <a:extLst>
                  <a:ext uri="{FF2B5EF4-FFF2-40B4-BE49-F238E27FC236}">
                    <a16:creationId xmlns:a16="http://schemas.microsoft.com/office/drawing/2014/main" id="{96B958B2-77BD-4303-8C88-2E87FCA33EC6}"/>
                  </a:ext>
                </a:extLst>
              </p:cNvPr>
              <p:cNvSpPr/>
              <p:nvPr userDrawn="1"/>
            </p:nvSpPr>
            <p:spPr bwMode="auto">
              <a:xfrm>
                <a:off x="1138752" y="3095123"/>
                <a:ext cx="921816" cy="407966"/>
              </a:xfrm>
              <a:custGeom>
                <a:avLst/>
                <a:gdLst>
                  <a:gd name="T0" fmla="*/ 45 w 246"/>
                  <a:gd name="T1" fmla="*/ 23 h 109"/>
                  <a:gd name="T2" fmla="*/ 150 w 246"/>
                  <a:gd name="T3" fmla="*/ 70 h 109"/>
                  <a:gd name="T4" fmla="*/ 229 w 246"/>
                  <a:gd name="T5" fmla="*/ 0 h 109"/>
                  <a:gd name="T6" fmla="*/ 246 w 246"/>
                  <a:gd name="T7" fmla="*/ 13 h 109"/>
                  <a:gd name="T8" fmla="*/ 159 w 246"/>
                  <a:gd name="T9" fmla="*/ 97 h 109"/>
                  <a:gd name="T10" fmla="*/ 45 w 246"/>
                  <a:gd name="T11" fmla="*/ 23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6" h="109">
                    <a:moveTo>
                      <a:pt x="45" y="23"/>
                    </a:moveTo>
                    <a:cubicBezTo>
                      <a:pt x="65" y="6"/>
                      <a:pt x="130" y="59"/>
                      <a:pt x="150" y="70"/>
                    </a:cubicBezTo>
                    <a:cubicBezTo>
                      <a:pt x="150" y="70"/>
                      <a:pt x="206" y="25"/>
                      <a:pt x="229" y="0"/>
                    </a:cubicBezTo>
                    <a:cubicBezTo>
                      <a:pt x="246" y="13"/>
                      <a:pt x="246" y="13"/>
                      <a:pt x="246" y="13"/>
                    </a:cubicBezTo>
                    <a:cubicBezTo>
                      <a:pt x="246" y="13"/>
                      <a:pt x="182" y="92"/>
                      <a:pt x="159" y="97"/>
                    </a:cubicBezTo>
                    <a:cubicBezTo>
                      <a:pt x="99" y="109"/>
                      <a:pt x="0" y="63"/>
                      <a:pt x="45" y="23"/>
                    </a:cubicBezTo>
                    <a:close/>
                  </a:path>
                </a:pathLst>
              </a:custGeom>
              <a:solidFill>
                <a:srgbClr val="FFC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4" name="任意多边形: 形状 1073">
                <a:extLst>
                  <a:ext uri="{FF2B5EF4-FFF2-40B4-BE49-F238E27FC236}">
                    <a16:creationId xmlns:a16="http://schemas.microsoft.com/office/drawing/2014/main" id="{323AED72-CD21-47F8-BA4D-3A0424EC4D1B}"/>
                  </a:ext>
                </a:extLst>
              </p:cNvPr>
              <p:cNvSpPr/>
              <p:nvPr userDrawn="1"/>
            </p:nvSpPr>
            <p:spPr bwMode="auto">
              <a:xfrm>
                <a:off x="1967140" y="2833527"/>
                <a:ext cx="179069" cy="309867"/>
              </a:xfrm>
              <a:custGeom>
                <a:avLst/>
                <a:gdLst>
                  <a:gd name="T0" fmla="*/ 0 w 48"/>
                  <a:gd name="T1" fmla="*/ 82 h 83"/>
                  <a:gd name="T2" fmla="*/ 10 w 48"/>
                  <a:gd name="T3" fmla="*/ 53 h 83"/>
                  <a:gd name="T4" fmla="*/ 12 w 48"/>
                  <a:gd name="T5" fmla="*/ 44 h 83"/>
                  <a:gd name="T6" fmla="*/ 41 w 48"/>
                  <a:gd name="T7" fmla="*/ 0 h 83"/>
                  <a:gd name="T8" fmla="*/ 32 w 48"/>
                  <a:gd name="T9" fmla="*/ 31 h 83"/>
                  <a:gd name="T10" fmla="*/ 40 w 48"/>
                  <a:gd name="T11" fmla="*/ 60 h 83"/>
                  <a:gd name="T12" fmla="*/ 25 w 48"/>
                  <a:gd name="T13" fmla="*/ 83 h 83"/>
                  <a:gd name="T14" fmla="*/ 0 w 48"/>
                  <a:gd name="T15" fmla="*/ 8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83">
                    <a:moveTo>
                      <a:pt x="0" y="82"/>
                    </a:moveTo>
                    <a:cubicBezTo>
                      <a:pt x="0" y="82"/>
                      <a:pt x="10" y="74"/>
                      <a:pt x="10" y="53"/>
                    </a:cubicBezTo>
                    <a:cubicBezTo>
                      <a:pt x="10" y="50"/>
                      <a:pt x="11" y="47"/>
                      <a:pt x="12" y="4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8" y="6"/>
                      <a:pt x="32" y="31"/>
                    </a:cubicBezTo>
                    <a:cubicBezTo>
                      <a:pt x="32" y="31"/>
                      <a:pt x="44" y="49"/>
                      <a:pt x="40" y="60"/>
                    </a:cubicBezTo>
                    <a:cubicBezTo>
                      <a:pt x="36" y="70"/>
                      <a:pt x="25" y="83"/>
                      <a:pt x="25" y="83"/>
                    </a:cubicBez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FFC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5" name="任意多边形: 形状 1074">
                <a:extLst>
                  <a:ext uri="{FF2B5EF4-FFF2-40B4-BE49-F238E27FC236}">
                    <a16:creationId xmlns:a16="http://schemas.microsoft.com/office/drawing/2014/main" id="{801275B0-B52E-4AEB-AD8D-2A9C519EB5BA}"/>
                  </a:ext>
                </a:extLst>
              </p:cNvPr>
              <p:cNvSpPr/>
              <p:nvPr userDrawn="1"/>
            </p:nvSpPr>
            <p:spPr bwMode="auto">
              <a:xfrm>
                <a:off x="880269" y="2473831"/>
                <a:ext cx="857973" cy="1189641"/>
              </a:xfrm>
              <a:custGeom>
                <a:avLst/>
                <a:gdLst>
                  <a:gd name="T0" fmla="*/ 88 w 229"/>
                  <a:gd name="T1" fmla="*/ 42 h 318"/>
                  <a:gd name="T2" fmla="*/ 75 w 229"/>
                  <a:gd name="T3" fmla="*/ 52 h 318"/>
                  <a:gd name="T4" fmla="*/ 66 w 229"/>
                  <a:gd name="T5" fmla="*/ 57 h 318"/>
                  <a:gd name="T6" fmla="*/ 33 w 229"/>
                  <a:gd name="T7" fmla="*/ 87 h 318"/>
                  <a:gd name="T8" fmla="*/ 21 w 229"/>
                  <a:gd name="T9" fmla="*/ 163 h 318"/>
                  <a:gd name="T10" fmla="*/ 16 w 229"/>
                  <a:gd name="T11" fmla="*/ 173 h 318"/>
                  <a:gd name="T12" fmla="*/ 41 w 229"/>
                  <a:gd name="T13" fmla="*/ 240 h 318"/>
                  <a:gd name="T14" fmla="*/ 114 w 229"/>
                  <a:gd name="T15" fmla="*/ 316 h 318"/>
                  <a:gd name="T16" fmla="*/ 185 w 229"/>
                  <a:gd name="T17" fmla="*/ 249 h 318"/>
                  <a:gd name="T18" fmla="*/ 202 w 229"/>
                  <a:gd name="T19" fmla="*/ 214 h 318"/>
                  <a:gd name="T20" fmla="*/ 188 w 229"/>
                  <a:gd name="T21" fmla="*/ 148 h 318"/>
                  <a:gd name="T22" fmla="*/ 176 w 229"/>
                  <a:gd name="T23" fmla="*/ 103 h 318"/>
                  <a:gd name="T24" fmla="*/ 88 w 229"/>
                  <a:gd name="T25" fmla="*/ 42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" h="318">
                    <a:moveTo>
                      <a:pt x="88" y="42"/>
                    </a:moveTo>
                    <a:cubicBezTo>
                      <a:pt x="83" y="45"/>
                      <a:pt x="79" y="49"/>
                      <a:pt x="75" y="52"/>
                    </a:cubicBezTo>
                    <a:cubicBezTo>
                      <a:pt x="73" y="54"/>
                      <a:pt x="71" y="56"/>
                      <a:pt x="66" y="57"/>
                    </a:cubicBezTo>
                    <a:cubicBezTo>
                      <a:pt x="60" y="59"/>
                      <a:pt x="32" y="54"/>
                      <a:pt x="33" y="87"/>
                    </a:cubicBezTo>
                    <a:cubicBezTo>
                      <a:pt x="34" y="113"/>
                      <a:pt x="30" y="139"/>
                      <a:pt x="21" y="163"/>
                    </a:cubicBezTo>
                    <a:cubicBezTo>
                      <a:pt x="19" y="166"/>
                      <a:pt x="18" y="170"/>
                      <a:pt x="16" y="173"/>
                    </a:cubicBezTo>
                    <a:cubicBezTo>
                      <a:pt x="0" y="215"/>
                      <a:pt x="27" y="214"/>
                      <a:pt x="41" y="240"/>
                    </a:cubicBezTo>
                    <a:cubicBezTo>
                      <a:pt x="55" y="266"/>
                      <a:pt x="27" y="313"/>
                      <a:pt x="114" y="316"/>
                    </a:cubicBezTo>
                    <a:cubicBezTo>
                      <a:pt x="159" y="318"/>
                      <a:pt x="206" y="295"/>
                      <a:pt x="185" y="249"/>
                    </a:cubicBezTo>
                    <a:cubicBezTo>
                      <a:pt x="185" y="249"/>
                      <a:pt x="186" y="224"/>
                      <a:pt x="202" y="214"/>
                    </a:cubicBezTo>
                    <a:cubicBezTo>
                      <a:pt x="218" y="205"/>
                      <a:pt x="229" y="158"/>
                      <a:pt x="188" y="148"/>
                    </a:cubicBezTo>
                    <a:cubicBezTo>
                      <a:pt x="146" y="138"/>
                      <a:pt x="176" y="123"/>
                      <a:pt x="176" y="103"/>
                    </a:cubicBezTo>
                    <a:cubicBezTo>
                      <a:pt x="177" y="60"/>
                      <a:pt x="151" y="0"/>
                      <a:pt x="88" y="42"/>
                    </a:cubicBezTo>
                    <a:close/>
                  </a:path>
                </a:pathLst>
              </a:custGeom>
              <a:solidFill>
                <a:srgbClr val="5A5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6" name="任意多边形: 形状 1075">
                <a:extLst>
                  <a:ext uri="{FF2B5EF4-FFF2-40B4-BE49-F238E27FC236}">
                    <a16:creationId xmlns:a16="http://schemas.microsoft.com/office/drawing/2014/main" id="{FEA2AD53-CF08-450A-B677-0FFCF3D4929A}"/>
                  </a:ext>
                </a:extLst>
              </p:cNvPr>
              <p:cNvSpPr/>
              <p:nvPr userDrawn="1"/>
            </p:nvSpPr>
            <p:spPr bwMode="auto">
              <a:xfrm>
                <a:off x="749471" y="5209693"/>
                <a:ext cx="261596" cy="314539"/>
              </a:xfrm>
              <a:custGeom>
                <a:avLst/>
                <a:gdLst>
                  <a:gd name="T0" fmla="*/ 23 w 70"/>
                  <a:gd name="T1" fmla="*/ 0 h 84"/>
                  <a:gd name="T2" fmla="*/ 0 w 70"/>
                  <a:gd name="T3" fmla="*/ 60 h 84"/>
                  <a:gd name="T4" fmla="*/ 67 w 70"/>
                  <a:gd name="T5" fmla="*/ 84 h 84"/>
                  <a:gd name="T6" fmla="*/ 59 w 70"/>
                  <a:gd name="T7" fmla="*/ 65 h 84"/>
                  <a:gd name="T8" fmla="*/ 34 w 70"/>
                  <a:gd name="T9" fmla="*/ 55 h 84"/>
                  <a:gd name="T10" fmla="*/ 50 w 70"/>
                  <a:gd name="T11" fmla="*/ 10 h 84"/>
                  <a:gd name="T12" fmla="*/ 23 w 70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0" h="84">
                    <a:moveTo>
                      <a:pt x="23" y="0"/>
                    </a:moveTo>
                    <a:cubicBezTo>
                      <a:pt x="0" y="60"/>
                      <a:pt x="0" y="60"/>
                      <a:pt x="0" y="60"/>
                    </a:cubicBezTo>
                    <a:cubicBezTo>
                      <a:pt x="67" y="84"/>
                      <a:pt x="67" y="84"/>
                      <a:pt x="67" y="84"/>
                    </a:cubicBezTo>
                    <a:cubicBezTo>
                      <a:pt x="70" y="77"/>
                      <a:pt x="67" y="68"/>
                      <a:pt x="59" y="65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50" y="10"/>
                      <a:pt x="50" y="10"/>
                      <a:pt x="50" y="10"/>
                    </a:cubicBez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FFC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7" name="任意多边形: 形状 1076">
                <a:extLst>
                  <a:ext uri="{FF2B5EF4-FFF2-40B4-BE49-F238E27FC236}">
                    <a16:creationId xmlns:a16="http://schemas.microsoft.com/office/drawing/2014/main" id="{618AEA38-122F-42CD-AC6D-60D12B68E10F}"/>
                  </a:ext>
                </a:extLst>
              </p:cNvPr>
              <p:cNvSpPr/>
              <p:nvPr userDrawn="1"/>
            </p:nvSpPr>
            <p:spPr bwMode="auto">
              <a:xfrm>
                <a:off x="749471" y="5382533"/>
                <a:ext cx="266268" cy="141699"/>
              </a:xfrm>
              <a:custGeom>
                <a:avLst/>
                <a:gdLst>
                  <a:gd name="T0" fmla="*/ 6 w 71"/>
                  <a:gd name="T1" fmla="*/ 0 h 38"/>
                  <a:gd name="T2" fmla="*/ 34 w 71"/>
                  <a:gd name="T3" fmla="*/ 9 h 38"/>
                  <a:gd name="T4" fmla="*/ 62 w 71"/>
                  <a:gd name="T5" fmla="*/ 20 h 38"/>
                  <a:gd name="T6" fmla="*/ 67 w 71"/>
                  <a:gd name="T7" fmla="*/ 38 h 38"/>
                  <a:gd name="T8" fmla="*/ 0 w 71"/>
                  <a:gd name="T9" fmla="*/ 14 h 38"/>
                  <a:gd name="T10" fmla="*/ 6 w 71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38">
                    <a:moveTo>
                      <a:pt x="6" y="0"/>
                    </a:moveTo>
                    <a:cubicBezTo>
                      <a:pt x="34" y="9"/>
                      <a:pt x="34" y="9"/>
                      <a:pt x="34" y="9"/>
                    </a:cubicBezTo>
                    <a:cubicBezTo>
                      <a:pt x="62" y="20"/>
                      <a:pt x="62" y="20"/>
                      <a:pt x="62" y="20"/>
                    </a:cubicBezTo>
                    <a:cubicBezTo>
                      <a:pt x="69" y="23"/>
                      <a:pt x="71" y="32"/>
                      <a:pt x="67" y="38"/>
                    </a:cubicBezTo>
                    <a:cubicBezTo>
                      <a:pt x="0" y="14"/>
                      <a:pt x="0" y="14"/>
                      <a:pt x="0" y="14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393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8" name="任意多边形: 形状 1077">
                <a:extLst>
                  <a:ext uri="{FF2B5EF4-FFF2-40B4-BE49-F238E27FC236}">
                    <a16:creationId xmlns:a16="http://schemas.microsoft.com/office/drawing/2014/main" id="{F685D00E-65FA-4A39-A281-5048C7103DFC}"/>
                  </a:ext>
                </a:extLst>
              </p:cNvPr>
              <p:cNvSpPr/>
              <p:nvPr userDrawn="1"/>
            </p:nvSpPr>
            <p:spPr bwMode="auto">
              <a:xfrm>
                <a:off x="1348963" y="5281321"/>
                <a:ext cx="269382" cy="242910"/>
              </a:xfrm>
              <a:custGeom>
                <a:avLst/>
                <a:gdLst>
                  <a:gd name="T0" fmla="*/ 0 w 72"/>
                  <a:gd name="T1" fmla="*/ 1 h 65"/>
                  <a:gd name="T2" fmla="*/ 1 w 72"/>
                  <a:gd name="T3" fmla="*/ 65 h 65"/>
                  <a:gd name="T4" fmla="*/ 72 w 72"/>
                  <a:gd name="T5" fmla="*/ 63 h 65"/>
                  <a:gd name="T6" fmla="*/ 58 w 72"/>
                  <a:gd name="T7" fmla="*/ 48 h 65"/>
                  <a:gd name="T8" fmla="*/ 30 w 72"/>
                  <a:gd name="T9" fmla="*/ 48 h 65"/>
                  <a:gd name="T10" fmla="*/ 29 w 72"/>
                  <a:gd name="T11" fmla="*/ 0 h 65"/>
                  <a:gd name="T12" fmla="*/ 0 w 72"/>
                  <a:gd name="T13" fmla="*/ 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65">
                    <a:moveTo>
                      <a:pt x="0" y="1"/>
                    </a:moveTo>
                    <a:cubicBezTo>
                      <a:pt x="1" y="65"/>
                      <a:pt x="1" y="65"/>
                      <a:pt x="1" y="65"/>
                    </a:cubicBezTo>
                    <a:cubicBezTo>
                      <a:pt x="72" y="63"/>
                      <a:pt x="72" y="63"/>
                      <a:pt x="72" y="63"/>
                    </a:cubicBezTo>
                    <a:cubicBezTo>
                      <a:pt x="72" y="55"/>
                      <a:pt x="66" y="48"/>
                      <a:pt x="58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29" y="0"/>
                      <a:pt x="29" y="0"/>
                      <a:pt x="29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C3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9" name="任意多边形: 形状 1078">
                <a:extLst>
                  <a:ext uri="{FF2B5EF4-FFF2-40B4-BE49-F238E27FC236}">
                    <a16:creationId xmlns:a16="http://schemas.microsoft.com/office/drawing/2014/main" id="{CDA83F8F-5CFE-425B-A6CD-24977790ECC8}"/>
                  </a:ext>
                </a:extLst>
              </p:cNvPr>
              <p:cNvSpPr/>
              <p:nvPr userDrawn="1"/>
            </p:nvSpPr>
            <p:spPr bwMode="auto">
              <a:xfrm>
                <a:off x="1348963" y="5460389"/>
                <a:ext cx="277167" cy="63842"/>
              </a:xfrm>
              <a:custGeom>
                <a:avLst/>
                <a:gdLst>
                  <a:gd name="T0" fmla="*/ 0 w 74"/>
                  <a:gd name="T1" fmla="*/ 2 h 17"/>
                  <a:gd name="T2" fmla="*/ 30 w 74"/>
                  <a:gd name="T3" fmla="*/ 0 h 17"/>
                  <a:gd name="T4" fmla="*/ 60 w 74"/>
                  <a:gd name="T5" fmla="*/ 0 h 17"/>
                  <a:gd name="T6" fmla="*/ 72 w 74"/>
                  <a:gd name="T7" fmla="*/ 15 h 17"/>
                  <a:gd name="T8" fmla="*/ 1 w 74"/>
                  <a:gd name="T9" fmla="*/ 17 h 17"/>
                  <a:gd name="T10" fmla="*/ 0 w 74"/>
                  <a:gd name="T1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17">
                    <a:moveTo>
                      <a:pt x="0" y="2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8" y="0"/>
                      <a:pt x="74" y="8"/>
                      <a:pt x="72" y="15"/>
                    </a:cubicBezTo>
                    <a:cubicBezTo>
                      <a:pt x="1" y="17"/>
                      <a:pt x="1" y="17"/>
                      <a:pt x="1" y="17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393F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0" name="任意多边形: 形状 1079">
                <a:extLst>
                  <a:ext uri="{FF2B5EF4-FFF2-40B4-BE49-F238E27FC236}">
                    <a16:creationId xmlns:a16="http://schemas.microsoft.com/office/drawing/2014/main" id="{3D5A37FA-75DE-43F6-B2FD-62E562146862}"/>
                  </a:ext>
                </a:extLst>
              </p:cNvPr>
              <p:cNvSpPr/>
              <p:nvPr userDrawn="1"/>
            </p:nvSpPr>
            <p:spPr bwMode="auto">
              <a:xfrm>
                <a:off x="1162109" y="3668143"/>
                <a:ext cx="384609" cy="1698819"/>
              </a:xfrm>
              <a:custGeom>
                <a:avLst/>
                <a:gdLst>
                  <a:gd name="T0" fmla="*/ 65 w 103"/>
                  <a:gd name="T1" fmla="*/ 0 h 454"/>
                  <a:gd name="T2" fmla="*/ 92 w 103"/>
                  <a:gd name="T3" fmla="*/ 101 h 454"/>
                  <a:gd name="T4" fmla="*/ 102 w 103"/>
                  <a:gd name="T5" fmla="*/ 209 h 454"/>
                  <a:gd name="T6" fmla="*/ 101 w 103"/>
                  <a:gd name="T7" fmla="*/ 276 h 454"/>
                  <a:gd name="T8" fmla="*/ 85 w 103"/>
                  <a:gd name="T9" fmla="*/ 453 h 454"/>
                  <a:gd name="T10" fmla="*/ 47 w 103"/>
                  <a:gd name="T11" fmla="*/ 454 h 454"/>
                  <a:gd name="T12" fmla="*/ 44 w 103"/>
                  <a:gd name="T13" fmla="*/ 251 h 454"/>
                  <a:gd name="T14" fmla="*/ 0 w 103"/>
                  <a:gd name="T15" fmla="*/ 3 h 454"/>
                  <a:gd name="T16" fmla="*/ 65 w 103"/>
                  <a:gd name="T17" fmla="*/ 0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454">
                    <a:moveTo>
                      <a:pt x="65" y="0"/>
                    </a:moveTo>
                    <a:cubicBezTo>
                      <a:pt x="65" y="0"/>
                      <a:pt x="81" y="37"/>
                      <a:pt x="92" y="101"/>
                    </a:cubicBezTo>
                    <a:cubicBezTo>
                      <a:pt x="96" y="121"/>
                      <a:pt x="100" y="174"/>
                      <a:pt x="102" y="209"/>
                    </a:cubicBezTo>
                    <a:cubicBezTo>
                      <a:pt x="103" y="231"/>
                      <a:pt x="103" y="254"/>
                      <a:pt x="101" y="276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47" y="454"/>
                      <a:pt x="47" y="454"/>
                      <a:pt x="47" y="454"/>
                    </a:cubicBezTo>
                    <a:cubicBezTo>
                      <a:pt x="44" y="251"/>
                      <a:pt x="44" y="251"/>
                      <a:pt x="44" y="251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3370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1081" name="任意多边形: 形状 1080">
                <a:extLst>
                  <a:ext uri="{FF2B5EF4-FFF2-40B4-BE49-F238E27FC236}">
                    <a16:creationId xmlns:a16="http://schemas.microsoft.com/office/drawing/2014/main" id="{F3ECD685-B148-42EF-BCC3-A893725B53EB}"/>
                  </a:ext>
                </a:extLst>
              </p:cNvPr>
              <p:cNvSpPr/>
              <p:nvPr userDrawn="1"/>
            </p:nvSpPr>
            <p:spPr bwMode="auto">
              <a:xfrm>
                <a:off x="771271" y="3671258"/>
                <a:ext cx="535650" cy="1687919"/>
              </a:xfrm>
              <a:custGeom>
                <a:avLst/>
                <a:gdLst>
                  <a:gd name="T0" fmla="*/ 91 w 143"/>
                  <a:gd name="T1" fmla="*/ 2 h 451"/>
                  <a:gd name="T2" fmla="*/ 64 w 143"/>
                  <a:gd name="T3" fmla="*/ 123 h 451"/>
                  <a:gd name="T4" fmla="*/ 64 w 143"/>
                  <a:gd name="T5" fmla="*/ 149 h 451"/>
                  <a:gd name="T6" fmla="*/ 33 w 143"/>
                  <a:gd name="T7" fmla="*/ 338 h 451"/>
                  <a:gd name="T8" fmla="*/ 0 w 143"/>
                  <a:gd name="T9" fmla="*/ 440 h 451"/>
                  <a:gd name="T10" fmla="*/ 38 w 143"/>
                  <a:gd name="T11" fmla="*/ 451 h 451"/>
                  <a:gd name="T12" fmla="*/ 114 w 143"/>
                  <a:gd name="T13" fmla="*/ 260 h 451"/>
                  <a:gd name="T14" fmla="*/ 141 w 143"/>
                  <a:gd name="T15" fmla="*/ 116 h 451"/>
                  <a:gd name="T16" fmla="*/ 143 w 143"/>
                  <a:gd name="T17" fmla="*/ 0 h 451"/>
                  <a:gd name="T18" fmla="*/ 91 w 143"/>
                  <a:gd name="T19" fmla="*/ 2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3" h="451">
                    <a:moveTo>
                      <a:pt x="91" y="2"/>
                    </a:moveTo>
                    <a:cubicBezTo>
                      <a:pt x="91" y="2"/>
                      <a:pt x="61" y="47"/>
                      <a:pt x="64" y="123"/>
                    </a:cubicBezTo>
                    <a:cubicBezTo>
                      <a:pt x="64" y="149"/>
                      <a:pt x="64" y="149"/>
                      <a:pt x="64" y="149"/>
                    </a:cubicBezTo>
                    <a:cubicBezTo>
                      <a:pt x="63" y="213"/>
                      <a:pt x="53" y="277"/>
                      <a:pt x="33" y="338"/>
                    </a:cubicBezTo>
                    <a:cubicBezTo>
                      <a:pt x="0" y="440"/>
                      <a:pt x="0" y="440"/>
                      <a:pt x="0" y="440"/>
                    </a:cubicBezTo>
                    <a:cubicBezTo>
                      <a:pt x="38" y="451"/>
                      <a:pt x="38" y="451"/>
                      <a:pt x="38" y="451"/>
                    </a:cubicBezTo>
                    <a:cubicBezTo>
                      <a:pt x="114" y="260"/>
                      <a:pt x="114" y="260"/>
                      <a:pt x="114" y="260"/>
                    </a:cubicBezTo>
                    <a:cubicBezTo>
                      <a:pt x="141" y="116"/>
                      <a:pt x="141" y="116"/>
                      <a:pt x="141" y="116"/>
                    </a:cubicBezTo>
                    <a:cubicBezTo>
                      <a:pt x="143" y="0"/>
                      <a:pt x="143" y="0"/>
                      <a:pt x="143" y="0"/>
                    </a:cubicBezTo>
                    <a:lnTo>
                      <a:pt x="91" y="2"/>
                    </a:lnTo>
                    <a:close/>
                  </a:path>
                </a:pathLst>
              </a:custGeom>
              <a:solidFill>
                <a:srgbClr val="3370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2" name="任意多边形: 形状 1081">
                <a:extLst>
                  <a:ext uri="{FF2B5EF4-FFF2-40B4-BE49-F238E27FC236}">
                    <a16:creationId xmlns:a16="http://schemas.microsoft.com/office/drawing/2014/main" id="{BD0B937A-9EE2-4A74-8473-ADFDCECEFC87}"/>
                  </a:ext>
                </a:extLst>
              </p:cNvPr>
              <p:cNvSpPr/>
              <p:nvPr userDrawn="1"/>
            </p:nvSpPr>
            <p:spPr bwMode="auto">
              <a:xfrm>
                <a:off x="1127853" y="4030952"/>
                <a:ext cx="138584" cy="613506"/>
              </a:xfrm>
              <a:custGeom>
                <a:avLst/>
                <a:gdLst>
                  <a:gd name="T0" fmla="*/ 89 w 89"/>
                  <a:gd name="T1" fmla="*/ 159 h 394"/>
                  <a:gd name="T2" fmla="*/ 72 w 89"/>
                  <a:gd name="T3" fmla="*/ 19 h 394"/>
                  <a:gd name="T4" fmla="*/ 0 w 89"/>
                  <a:gd name="T5" fmla="*/ 0 h 394"/>
                  <a:gd name="T6" fmla="*/ 55 w 89"/>
                  <a:gd name="T7" fmla="*/ 99 h 394"/>
                  <a:gd name="T8" fmla="*/ 46 w 89"/>
                  <a:gd name="T9" fmla="*/ 394 h 394"/>
                  <a:gd name="T10" fmla="*/ 89 w 89"/>
                  <a:gd name="T11" fmla="*/ 159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9" h="394">
                    <a:moveTo>
                      <a:pt x="89" y="159"/>
                    </a:moveTo>
                    <a:lnTo>
                      <a:pt x="72" y="19"/>
                    </a:lnTo>
                    <a:lnTo>
                      <a:pt x="0" y="0"/>
                    </a:lnTo>
                    <a:lnTo>
                      <a:pt x="55" y="99"/>
                    </a:lnTo>
                    <a:lnTo>
                      <a:pt x="46" y="394"/>
                    </a:lnTo>
                    <a:lnTo>
                      <a:pt x="89" y="159"/>
                    </a:lnTo>
                    <a:close/>
                  </a:path>
                </a:pathLst>
              </a:custGeom>
              <a:solidFill>
                <a:srgbClr val="1D5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493691" y="3211354"/>
            <a:ext cx="5023452" cy="558799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493690" y="1209969"/>
            <a:ext cx="5016413" cy="209670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93690" y="5659324"/>
            <a:ext cx="48622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493690" y="5955595"/>
            <a:ext cx="48622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70220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297DA257-50ED-6502-0416-56D71B66E34A}"/>
              </a:ext>
            </a:extLst>
          </p:cNvPr>
          <p:cNvSpPr/>
          <p:nvPr userDrawn="1"/>
        </p:nvSpPr>
        <p:spPr>
          <a:xfrm>
            <a:off x="-1" y="0"/>
            <a:ext cx="7170822" cy="6857999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20000"/>
                </a:schemeClr>
              </a:gs>
              <a:gs pos="65000">
                <a:schemeClr val="bg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7F74B7D-F664-AA20-1EFE-950DBDE193A9}"/>
              </a:ext>
            </a:extLst>
          </p:cNvPr>
          <p:cNvSpPr/>
          <p:nvPr userDrawn="1"/>
        </p:nvSpPr>
        <p:spPr>
          <a:xfrm>
            <a:off x="7958933" y="-4234"/>
            <a:ext cx="4241533" cy="4427621"/>
          </a:xfrm>
          <a:prstGeom prst="rect">
            <a:avLst/>
          </a:prstGeom>
          <a:gradFill flip="none" rotWithShape="1">
            <a:gsLst>
              <a:gs pos="45000">
                <a:schemeClr val="bg1">
                  <a:alpha val="0"/>
                </a:schemeClr>
              </a:gs>
              <a:gs pos="98000">
                <a:schemeClr val="accent3">
                  <a:alpha val="2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DCAE3B1-0F75-3393-F2CA-151244936503}"/>
              </a:ext>
            </a:extLst>
          </p:cNvPr>
          <p:cNvSpPr/>
          <p:nvPr userDrawn="1"/>
        </p:nvSpPr>
        <p:spPr>
          <a:xfrm flipH="1" flipV="1">
            <a:off x="-21977" y="3568699"/>
            <a:ext cx="3666876" cy="3289297"/>
          </a:xfrm>
          <a:prstGeom prst="rect">
            <a:avLst/>
          </a:prstGeom>
          <a:gradFill flip="none" rotWithShape="1">
            <a:gsLst>
              <a:gs pos="45000">
                <a:schemeClr val="bg1">
                  <a:alpha val="0"/>
                </a:schemeClr>
              </a:gs>
              <a:gs pos="98000">
                <a:schemeClr val="accent3">
                  <a:alpha val="2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9060EA9A-CEE8-C2CB-B536-B8C227202DC6}"/>
              </a:ext>
            </a:extLst>
          </p:cNvPr>
          <p:cNvSpPr/>
          <p:nvPr userDrawn="1"/>
        </p:nvSpPr>
        <p:spPr>
          <a:xfrm flipH="1" flipV="1">
            <a:off x="4908884" y="0"/>
            <a:ext cx="7291582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20000"/>
                </a:schemeClr>
              </a:gs>
              <a:gs pos="65000">
                <a:schemeClr val="bg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日期占位符 12">
            <a:extLst>
              <a:ext uri="{FF2B5EF4-FFF2-40B4-BE49-F238E27FC236}">
                <a16:creationId xmlns:a16="http://schemas.microsoft.com/office/drawing/2014/main" id="{3B0A0941-F45B-1AB2-A03A-2BF68E520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199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57AEC15-A5B8-4A30-A135-E835E3FDAD0B}" type="datetime1">
              <a:rPr lang="zh-CN" altLang="en-US" smtClean="0"/>
              <a:t>2023/7/17</a:t>
            </a:fld>
            <a:endParaRPr lang="zh-CN" altLang="en-US" dirty="0"/>
          </a:p>
        </p:txBody>
      </p:sp>
      <p:sp>
        <p:nvSpPr>
          <p:cNvPr id="14" name="页脚占位符 13">
            <a:extLst>
              <a:ext uri="{FF2B5EF4-FFF2-40B4-BE49-F238E27FC236}">
                <a16:creationId xmlns:a16="http://schemas.microsoft.com/office/drawing/2014/main" id="{32E79F82-125A-B03D-B1C5-DBE670A23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356350"/>
            <a:ext cx="2986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15" name="灯片编号占位符 14">
            <a:extLst>
              <a:ext uri="{FF2B5EF4-FFF2-40B4-BE49-F238E27FC236}">
                <a16:creationId xmlns:a16="http://schemas.microsoft.com/office/drawing/2014/main" id="{801169B9-3FEF-19F5-6AD5-0D2522E5E9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5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AD6B054-68FE-4499-9E56-B0DA1E971F35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791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4" r:id="rId4"/>
    <p:sldLayoutId id="2147483657" r:id="rId5"/>
    <p:sldLayoutId id="2147483656" r:id="rId6"/>
    <p:sldLayoutId id="2147483658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zh-CN" altLang="en-US"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4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709" userDrawn="1">
          <p15:clr>
            <a:srgbClr val="F26B43"/>
          </p15:clr>
        </p15:guide>
        <p15:guide id="5" orient="horz" pos="3929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  <p15:guide id="8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>
            <a:extLst>
              <a:ext uri="{FF2B5EF4-FFF2-40B4-BE49-F238E27FC236}">
                <a16:creationId xmlns:a16="http://schemas.microsoft.com/office/drawing/2014/main" id="{6C2532AA-A647-48FF-8A25-36777AF5B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6230" y="1230924"/>
            <a:ext cx="5857277" cy="2039815"/>
          </a:xfrm>
        </p:spPr>
        <p:txBody>
          <a:bodyPr/>
          <a:lstStyle/>
          <a:p>
            <a:pPr algn="ctr"/>
            <a:r>
              <a:rPr lang="en-US" altLang="zh-CN" sz="6000" dirty="0"/>
              <a:t>C2C</a:t>
            </a:r>
            <a:r>
              <a:rPr lang="zh-CN" altLang="en-US" sz="6000" dirty="0"/>
              <a:t>电子商务平台电子支付准备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1421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88" y="318042"/>
            <a:ext cx="5924867" cy="5016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C2C</a:t>
            </a:r>
            <a:r>
              <a:rPr lang="zh-CN" altLang="en-US" sz="2800" dirty="0"/>
              <a:t>电子商务平台电子支付准备</a:t>
            </a:r>
            <a:endParaRPr lang="zh-CN" altLang="en-US" dirty="0">
              <a:latin typeface="+mj-lt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475F720-0A00-FF5B-71D1-4466A0E8A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2A46110-2E17-AE3F-3B1D-06BA7F5E0799}"/>
              </a:ext>
            </a:extLst>
          </p:cNvPr>
          <p:cNvGrpSpPr/>
          <p:nvPr/>
        </p:nvGrpSpPr>
        <p:grpSpPr>
          <a:xfrm>
            <a:off x="2254771" y="1776128"/>
            <a:ext cx="7175077" cy="4019765"/>
            <a:chOff x="660400" y="3796837"/>
            <a:chExt cx="3551979" cy="2228387"/>
          </a:xfrm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318BC5B0-E5CA-0FB7-E17F-BD56709D7B4E}"/>
                </a:ext>
              </a:extLst>
            </p:cNvPr>
            <p:cNvSpPr/>
            <p:nvPr/>
          </p:nvSpPr>
          <p:spPr>
            <a:xfrm>
              <a:off x="660400" y="4064718"/>
              <a:ext cx="3551979" cy="1960506"/>
            </a:xfrm>
            <a:prstGeom prst="roundRect">
              <a:avLst>
                <a:gd name="adj" fmla="val 11652"/>
              </a:avLst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444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25A7FE2D-002A-8EC5-D794-A1FE6946350B}"/>
                </a:ext>
              </a:extLst>
            </p:cNvPr>
            <p:cNvSpPr/>
            <p:nvPr/>
          </p:nvSpPr>
          <p:spPr>
            <a:xfrm>
              <a:off x="747182" y="3796837"/>
              <a:ext cx="2753360" cy="4889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75000">
                  <a:schemeClr val="accent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4000" b="1" kern="100" dirty="0">
                  <a:cs typeface="Times New Roman" panose="02020603050405020304" pitchFamily="18" charset="0"/>
                </a:rPr>
                <a:t>任务拓展</a:t>
              </a:r>
              <a:endParaRPr lang="zh-CN" altLang="en-US" sz="4000" b="1" dirty="0"/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E638F8CE-D49C-6218-7956-EF9162814A99}"/>
                </a:ext>
              </a:extLst>
            </p:cNvPr>
            <p:cNvSpPr txBox="1"/>
            <p:nvPr/>
          </p:nvSpPr>
          <p:spPr>
            <a:xfrm>
              <a:off x="823733" y="4864761"/>
              <a:ext cx="3364176" cy="275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indent="457200">
                <a:lnSpc>
                  <a:spcPct val="120000"/>
                </a:lnSpc>
              </a:pPr>
              <a:r>
                <a:rPr lang="zh-CN" altLang="en-US" sz="2400" kern="100" dirty="0">
                  <a:effectLst/>
                  <a:cs typeface="Times New Roman" panose="02020603050405020304" pitchFamily="18" charset="0"/>
                </a:rPr>
                <a:t>调研</a:t>
              </a:r>
              <a:r>
                <a:rPr lang="en-US" altLang="zh-CN" sz="2400" kern="100" dirty="0">
                  <a:effectLst/>
                  <a:cs typeface="Times New Roman" panose="02020603050405020304" pitchFamily="18" charset="0"/>
                </a:rPr>
                <a:t>C2C</a:t>
              </a:r>
              <a:r>
                <a:rPr lang="zh-CN" altLang="en-US" sz="2400" kern="100" dirty="0">
                  <a:effectLst/>
                  <a:cs typeface="Times New Roman" panose="02020603050405020304" pitchFamily="18" charset="0"/>
                </a:rPr>
                <a:t>电子商务平台的交易流程及规则</a:t>
              </a:r>
              <a:endParaRPr lang="zh-CN" altLang="en-US" sz="2400" dirty="0"/>
            </a:p>
          </p:txBody>
        </p:sp>
      </p:grpSp>
      <p:pic>
        <p:nvPicPr>
          <p:cNvPr id="4" name="图形 3" descr="研究">
            <a:extLst>
              <a:ext uri="{FF2B5EF4-FFF2-40B4-BE49-F238E27FC236}">
                <a16:creationId xmlns:a16="http://schemas.microsoft.com/office/drawing/2014/main" id="{6EB3AAF1-AB3C-AD7D-BB9F-E9D01BBE00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96958" y="1820302"/>
            <a:ext cx="793664" cy="7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55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6">
            <a:extLst>
              <a:ext uri="{FF2B5EF4-FFF2-40B4-BE49-F238E27FC236}">
                <a16:creationId xmlns:a16="http://schemas.microsoft.com/office/drawing/2014/main" id="{50F8BEDC-5EBD-BE04-91AC-BE65031525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3957" y="2263590"/>
            <a:ext cx="10858500" cy="1272966"/>
          </a:xfrm>
        </p:spPr>
        <p:txBody>
          <a:bodyPr/>
          <a:lstStyle/>
          <a:p>
            <a:r>
              <a:rPr lang="zh-CN" altLang="en-US" dirty="0">
                <a:latin typeface="+mj-lt"/>
              </a:rPr>
              <a:t>感谢您的聆听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7502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9067D5D5-F2F4-B779-BA9B-6B119D8A1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104" y="1728272"/>
            <a:ext cx="930836" cy="3183989"/>
          </a:xfrm>
        </p:spPr>
        <p:txBody>
          <a:bodyPr/>
          <a:lstStyle/>
          <a:p>
            <a:r>
              <a:rPr lang="zh-CN" altLang="en-US" dirty="0"/>
              <a:t>安全教育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02523AF7-F1DA-ED58-EC36-7147E6077D95}"/>
              </a:ext>
            </a:extLst>
          </p:cNvPr>
          <p:cNvGrpSpPr/>
          <p:nvPr/>
        </p:nvGrpSpPr>
        <p:grpSpPr>
          <a:xfrm>
            <a:off x="5266705" y="1509563"/>
            <a:ext cx="3673313" cy="607626"/>
            <a:chOff x="3881038" y="946855"/>
            <a:chExt cx="3673313" cy="607626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23628F2-1313-791C-72E5-6B2F51060C6F}"/>
                </a:ext>
              </a:extLst>
            </p:cNvPr>
            <p:cNvGrpSpPr/>
            <p:nvPr/>
          </p:nvGrpSpPr>
          <p:grpSpPr>
            <a:xfrm>
              <a:off x="3881038" y="946855"/>
              <a:ext cx="3673313" cy="607626"/>
              <a:chOff x="3706284" y="1868288"/>
              <a:chExt cx="8113498" cy="1342105"/>
            </a:xfrm>
          </p:grpSpPr>
          <p:sp>
            <p:nvSpPr>
              <p:cNvPr id="2" name="矩形: 圆角 1">
                <a:extLst>
                  <a:ext uri="{FF2B5EF4-FFF2-40B4-BE49-F238E27FC236}">
                    <a16:creationId xmlns:a16="http://schemas.microsoft.com/office/drawing/2014/main" id="{689144DE-B4AF-E8D5-FEB2-B07F3AFA289E}"/>
                  </a:ext>
                </a:extLst>
              </p:cNvPr>
              <p:cNvSpPr/>
              <p:nvPr/>
            </p:nvSpPr>
            <p:spPr>
              <a:xfrm>
                <a:off x="4017005" y="1877618"/>
                <a:ext cx="7802777" cy="1323439"/>
              </a:xfrm>
              <a:prstGeom prst="roundRect">
                <a:avLst>
                  <a:gd name="adj" fmla="val 50000"/>
                </a:avLst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ED1600FC-90EA-24D1-75B5-9C8A871D8DAC}"/>
                  </a:ext>
                </a:extLst>
              </p:cNvPr>
              <p:cNvSpPr/>
              <p:nvPr/>
            </p:nvSpPr>
            <p:spPr>
              <a:xfrm>
                <a:off x="3706284" y="1868288"/>
                <a:ext cx="1342105" cy="1342105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81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  <a:effectLst>
                <a:outerShdw blurRad="127000" sx="102000" sy="102000" algn="ctr" rotWithShape="0">
                  <a:schemeClr val="accent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46CFEB48-A7B0-3D08-E8CA-9B69C5711B21}"/>
                  </a:ext>
                </a:extLst>
              </p:cNvPr>
              <p:cNvSpPr txBox="1"/>
              <p:nvPr/>
            </p:nvSpPr>
            <p:spPr>
              <a:xfrm>
                <a:off x="6104631" y="1961500"/>
                <a:ext cx="4658909" cy="11556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accent1"/>
                    </a:solidFill>
                    <a:effectLst/>
                    <a:latin typeface="+mj-lt"/>
                    <a:ea typeface="+mj-ea"/>
                    <a:cs typeface="Times New Roman" panose="02020603050405020304" pitchFamily="18" charset="0"/>
                  </a:rPr>
                  <a:t>用 电 安 全</a:t>
                </a:r>
                <a:endParaRPr lang="zh-CN" altLang="en-US" sz="2800" b="1" dirty="0">
                  <a:solidFill>
                    <a:schemeClr val="accent1"/>
                  </a:solidFill>
                  <a:latin typeface="+mj-lt"/>
                  <a:ea typeface="+mj-ea"/>
                </a:endParaRPr>
              </a:p>
            </p:txBody>
          </p:sp>
        </p:grp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BF0068F2-07A0-FA3A-BD40-9BAF1E060C20}"/>
                </a:ext>
              </a:extLst>
            </p:cNvPr>
            <p:cNvSpPr txBox="1"/>
            <p:nvPr/>
          </p:nvSpPr>
          <p:spPr>
            <a:xfrm>
              <a:off x="3883753" y="989057"/>
              <a:ext cx="6049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</a:rPr>
                <a:t>01</a:t>
              </a:r>
              <a:endParaRPr lang="zh-CN" altLang="en-US" sz="2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26ED19DC-60DA-EBEF-3DE9-DE825CC45BFE}"/>
              </a:ext>
            </a:extLst>
          </p:cNvPr>
          <p:cNvGrpSpPr/>
          <p:nvPr/>
        </p:nvGrpSpPr>
        <p:grpSpPr>
          <a:xfrm>
            <a:off x="5266705" y="2694365"/>
            <a:ext cx="3673313" cy="607626"/>
            <a:chOff x="3881038" y="946855"/>
            <a:chExt cx="3673313" cy="607626"/>
          </a:xfrm>
        </p:grpSpPr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1CF30EF7-E4C1-CEB9-BDD9-973AFE5B8C02}"/>
                </a:ext>
              </a:extLst>
            </p:cNvPr>
            <p:cNvGrpSpPr/>
            <p:nvPr/>
          </p:nvGrpSpPr>
          <p:grpSpPr>
            <a:xfrm>
              <a:off x="3881038" y="946855"/>
              <a:ext cx="3673313" cy="607626"/>
              <a:chOff x="3706284" y="1868288"/>
              <a:chExt cx="8113498" cy="1342105"/>
            </a:xfrm>
          </p:grpSpPr>
          <p:sp>
            <p:nvSpPr>
              <p:cNvPr id="41" name="矩形: 圆角 40">
                <a:extLst>
                  <a:ext uri="{FF2B5EF4-FFF2-40B4-BE49-F238E27FC236}">
                    <a16:creationId xmlns:a16="http://schemas.microsoft.com/office/drawing/2014/main" id="{704FFE34-1109-5296-48A8-8EACE973E8E1}"/>
                  </a:ext>
                </a:extLst>
              </p:cNvPr>
              <p:cNvSpPr/>
              <p:nvPr/>
            </p:nvSpPr>
            <p:spPr>
              <a:xfrm>
                <a:off x="4017005" y="1877618"/>
                <a:ext cx="7802777" cy="1323439"/>
              </a:xfrm>
              <a:prstGeom prst="roundRect">
                <a:avLst>
                  <a:gd name="adj" fmla="val 50000"/>
                </a:avLst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2" name="椭圆 41">
                <a:extLst>
                  <a:ext uri="{FF2B5EF4-FFF2-40B4-BE49-F238E27FC236}">
                    <a16:creationId xmlns:a16="http://schemas.microsoft.com/office/drawing/2014/main" id="{C51631D3-6584-1C28-F881-4E6B0818FC83}"/>
                  </a:ext>
                </a:extLst>
              </p:cNvPr>
              <p:cNvSpPr/>
              <p:nvPr/>
            </p:nvSpPr>
            <p:spPr>
              <a:xfrm>
                <a:off x="3706284" y="1868288"/>
                <a:ext cx="1342105" cy="1342105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81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  <a:effectLst>
                <a:outerShdw blurRad="127000" sx="102000" sy="102000" algn="ctr" rotWithShape="0">
                  <a:schemeClr val="accent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B8A2364D-82DC-B384-1E66-39F675ED675F}"/>
                  </a:ext>
                </a:extLst>
              </p:cNvPr>
              <p:cNvSpPr txBox="1"/>
              <p:nvPr/>
            </p:nvSpPr>
            <p:spPr>
              <a:xfrm>
                <a:off x="6104631" y="1961500"/>
                <a:ext cx="4658909" cy="11556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accent1"/>
                    </a:solidFill>
                    <a:effectLst/>
                    <a:latin typeface="+mj-lt"/>
                    <a:ea typeface="+mj-ea"/>
                    <a:cs typeface="Times New Roman" panose="02020603050405020304" pitchFamily="18" charset="0"/>
                  </a:rPr>
                  <a:t>桌面安全</a:t>
                </a:r>
                <a:endParaRPr lang="zh-CN" altLang="en-US" sz="2800" b="1" dirty="0">
                  <a:solidFill>
                    <a:schemeClr val="accent1"/>
                  </a:solidFill>
                  <a:latin typeface="+mj-lt"/>
                  <a:ea typeface="+mj-ea"/>
                </a:endParaRPr>
              </a:p>
            </p:txBody>
          </p: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CF3B0217-9E93-A0E2-EC02-7F3D816DE245}"/>
                </a:ext>
              </a:extLst>
            </p:cNvPr>
            <p:cNvSpPr txBox="1"/>
            <p:nvPr/>
          </p:nvSpPr>
          <p:spPr>
            <a:xfrm>
              <a:off x="3883753" y="989057"/>
              <a:ext cx="6049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</a:rPr>
                <a:t>02</a:t>
              </a:r>
              <a:endParaRPr lang="zh-CN" altLang="en-US" sz="2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5E8D56D5-088B-2ABE-ED0D-1FD19D8A511C}"/>
              </a:ext>
            </a:extLst>
          </p:cNvPr>
          <p:cNvGrpSpPr/>
          <p:nvPr/>
        </p:nvGrpSpPr>
        <p:grpSpPr>
          <a:xfrm>
            <a:off x="5266705" y="3879167"/>
            <a:ext cx="3673313" cy="607626"/>
            <a:chOff x="3881038" y="946855"/>
            <a:chExt cx="3673313" cy="607626"/>
          </a:xfrm>
        </p:grpSpPr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47DA2CD4-6B08-6593-F30D-3BF5E7824AA8}"/>
                </a:ext>
              </a:extLst>
            </p:cNvPr>
            <p:cNvGrpSpPr/>
            <p:nvPr/>
          </p:nvGrpSpPr>
          <p:grpSpPr>
            <a:xfrm>
              <a:off x="3881038" y="946855"/>
              <a:ext cx="3673313" cy="607626"/>
              <a:chOff x="3706284" y="1868288"/>
              <a:chExt cx="8113498" cy="1342105"/>
            </a:xfrm>
          </p:grpSpPr>
          <p:sp>
            <p:nvSpPr>
              <p:cNvPr id="47" name="矩形: 圆角 46">
                <a:extLst>
                  <a:ext uri="{FF2B5EF4-FFF2-40B4-BE49-F238E27FC236}">
                    <a16:creationId xmlns:a16="http://schemas.microsoft.com/office/drawing/2014/main" id="{0D4F7666-5B26-015B-1EB8-598D49567618}"/>
                  </a:ext>
                </a:extLst>
              </p:cNvPr>
              <p:cNvSpPr/>
              <p:nvPr/>
            </p:nvSpPr>
            <p:spPr>
              <a:xfrm>
                <a:off x="4017005" y="1877618"/>
                <a:ext cx="7802777" cy="1323439"/>
              </a:xfrm>
              <a:prstGeom prst="roundRect">
                <a:avLst>
                  <a:gd name="adj" fmla="val 50000"/>
                </a:avLst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8" name="椭圆 47">
                <a:extLst>
                  <a:ext uri="{FF2B5EF4-FFF2-40B4-BE49-F238E27FC236}">
                    <a16:creationId xmlns:a16="http://schemas.microsoft.com/office/drawing/2014/main" id="{2C4FF800-11B4-CA9A-D1AC-6BC046597E5A}"/>
                  </a:ext>
                </a:extLst>
              </p:cNvPr>
              <p:cNvSpPr/>
              <p:nvPr/>
            </p:nvSpPr>
            <p:spPr>
              <a:xfrm>
                <a:off x="3706284" y="1868288"/>
                <a:ext cx="1342105" cy="1342105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81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  <a:effectLst>
                <a:outerShdw blurRad="127000" sx="102000" sy="102000" algn="ctr" rotWithShape="0">
                  <a:schemeClr val="accent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9" name="文本框 48">
                <a:extLst>
                  <a:ext uri="{FF2B5EF4-FFF2-40B4-BE49-F238E27FC236}">
                    <a16:creationId xmlns:a16="http://schemas.microsoft.com/office/drawing/2014/main" id="{C961A10C-A655-BD3A-F53F-26041F36F44D}"/>
                  </a:ext>
                </a:extLst>
              </p:cNvPr>
              <p:cNvSpPr txBox="1"/>
              <p:nvPr/>
            </p:nvSpPr>
            <p:spPr>
              <a:xfrm>
                <a:off x="6104631" y="1961500"/>
                <a:ext cx="4658909" cy="11556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accent1"/>
                    </a:solidFill>
                    <a:effectLst/>
                    <a:latin typeface="+mj-lt"/>
                    <a:ea typeface="+mj-ea"/>
                    <a:cs typeface="Times New Roman" panose="02020603050405020304" pitchFamily="18" charset="0"/>
                  </a:rPr>
                  <a:t>实训安全</a:t>
                </a:r>
                <a:endParaRPr lang="zh-CN" altLang="en-US" sz="2800" b="1" dirty="0">
                  <a:solidFill>
                    <a:schemeClr val="accent1"/>
                  </a:solidFill>
                  <a:latin typeface="+mj-lt"/>
                  <a:ea typeface="+mj-ea"/>
                </a:endParaRPr>
              </a:p>
            </p:txBody>
          </p: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62A7E0F1-D72A-12A2-CAF0-E2421278D50A}"/>
                </a:ext>
              </a:extLst>
            </p:cNvPr>
            <p:cNvSpPr txBox="1"/>
            <p:nvPr/>
          </p:nvSpPr>
          <p:spPr>
            <a:xfrm>
              <a:off x="3883753" y="989057"/>
              <a:ext cx="60491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</a:rPr>
                <a:t>03</a:t>
              </a:r>
              <a:endParaRPr lang="zh-CN" altLang="en-US" sz="2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0781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88" y="318042"/>
            <a:ext cx="5924867" cy="5016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C2C</a:t>
            </a:r>
            <a:r>
              <a:rPr lang="zh-CN" altLang="en-US" sz="2800" dirty="0"/>
              <a:t>电子商务平台电子支付准备</a:t>
            </a:r>
            <a:endParaRPr lang="zh-CN" altLang="en-US" dirty="0">
              <a:latin typeface="+mj-lt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475F720-0A00-FF5B-71D1-4466A0E8A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2A46110-2E17-AE3F-3B1D-06BA7F5E0799}"/>
              </a:ext>
            </a:extLst>
          </p:cNvPr>
          <p:cNvGrpSpPr/>
          <p:nvPr/>
        </p:nvGrpSpPr>
        <p:grpSpPr>
          <a:xfrm>
            <a:off x="2219601" y="1769094"/>
            <a:ext cx="7175077" cy="4019765"/>
            <a:chOff x="660400" y="3796837"/>
            <a:chExt cx="3551979" cy="2228387"/>
          </a:xfrm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318BC5B0-E5CA-0FB7-E17F-BD56709D7B4E}"/>
                </a:ext>
              </a:extLst>
            </p:cNvPr>
            <p:cNvSpPr/>
            <p:nvPr/>
          </p:nvSpPr>
          <p:spPr>
            <a:xfrm>
              <a:off x="660400" y="4064718"/>
              <a:ext cx="3551979" cy="1960506"/>
            </a:xfrm>
            <a:prstGeom prst="roundRect">
              <a:avLst>
                <a:gd name="adj" fmla="val 11652"/>
              </a:avLst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444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25A7FE2D-002A-8EC5-D794-A1FE6946350B}"/>
                </a:ext>
              </a:extLst>
            </p:cNvPr>
            <p:cNvSpPr/>
            <p:nvPr/>
          </p:nvSpPr>
          <p:spPr>
            <a:xfrm>
              <a:off x="747182" y="3796837"/>
              <a:ext cx="2753360" cy="4889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75000">
                  <a:schemeClr val="accent1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4000" b="1" kern="100" dirty="0">
                  <a:cs typeface="Times New Roman" panose="02020603050405020304" pitchFamily="18" charset="0"/>
                </a:rPr>
                <a:t>任务导入</a:t>
              </a:r>
              <a:endParaRPr lang="zh-CN" altLang="en-US" sz="4000" b="1" dirty="0"/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E638F8CE-D49C-6218-7956-EF9162814A99}"/>
                </a:ext>
              </a:extLst>
            </p:cNvPr>
            <p:cNvSpPr txBox="1"/>
            <p:nvPr/>
          </p:nvSpPr>
          <p:spPr>
            <a:xfrm>
              <a:off x="795877" y="4467594"/>
              <a:ext cx="3364176" cy="12584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indent="457200">
                <a:lnSpc>
                  <a:spcPct val="120000"/>
                </a:lnSpc>
              </a:pPr>
              <a:r>
                <a:rPr lang="zh-CN" altLang="en-US" sz="2400" kern="100" dirty="0">
                  <a:effectLst/>
                  <a:cs typeface="Times New Roman" panose="02020603050405020304" pitchFamily="18" charset="0"/>
                </a:rPr>
                <a:t>王军（用户名：</a:t>
              </a:r>
              <a:r>
                <a:rPr lang="en-US" altLang="zh-CN" sz="2400" kern="100" dirty="0" err="1">
                  <a:effectLst/>
                  <a:cs typeface="Times New Roman" panose="02020603050405020304" pitchFamily="18" charset="0"/>
                </a:rPr>
                <a:t>wangjunseller</a:t>
              </a:r>
              <a:r>
                <a:rPr lang="zh-CN" altLang="en-US" sz="2400" kern="100" dirty="0">
                  <a:effectLst/>
                  <a:cs typeface="Times New Roman" panose="02020603050405020304" pitchFamily="18" charset="0"/>
                </a:rPr>
                <a:t>）想要在</a:t>
              </a:r>
              <a:r>
                <a:rPr lang="en-US" altLang="zh-CN" sz="2400" kern="100" dirty="0">
                  <a:effectLst/>
                  <a:cs typeface="Times New Roman" panose="02020603050405020304" pitchFamily="18" charset="0"/>
                </a:rPr>
                <a:t>C2C</a:t>
              </a:r>
              <a:r>
                <a:rPr lang="zh-CN" altLang="en-US" sz="2400" kern="100" dirty="0">
                  <a:effectLst/>
                  <a:cs typeface="Times New Roman" panose="02020603050405020304" pitchFamily="18" charset="0"/>
                </a:rPr>
                <a:t>电子商务平台上开设一个手机专卖店，但是开设店铺需要绑定银行账户及支付通账户，因此王军前去银行申请银行卡并开通网银功能，并申请支付通账户且绑定银行账号。</a:t>
              </a:r>
              <a:endParaRPr lang="zh-CN" altLang="en-US" sz="2400" dirty="0"/>
            </a:p>
          </p:txBody>
        </p:sp>
        <p:pic>
          <p:nvPicPr>
            <p:cNvPr id="49" name="图形 48">
              <a:extLst>
                <a:ext uri="{FF2B5EF4-FFF2-40B4-BE49-F238E27FC236}">
                  <a16:creationId xmlns:a16="http://schemas.microsoft.com/office/drawing/2014/main" id="{23E24579-3E6E-E550-8BA7-20793473CB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8695" y="3882911"/>
              <a:ext cx="304801" cy="3048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8457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88" y="318042"/>
            <a:ext cx="5924867" cy="5016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C2C</a:t>
            </a:r>
            <a:r>
              <a:rPr lang="zh-CN" altLang="en-US" sz="2800" dirty="0"/>
              <a:t>电子商务平台电子支付准备</a:t>
            </a:r>
            <a:endParaRPr lang="zh-CN" altLang="en-US" dirty="0">
              <a:latin typeface="+mj-lt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475F720-0A00-FF5B-71D1-4466A0E8A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FDE5C697-3DD8-AE41-50FD-081672FE1337}"/>
              </a:ext>
            </a:extLst>
          </p:cNvPr>
          <p:cNvGrpSpPr/>
          <p:nvPr/>
        </p:nvGrpSpPr>
        <p:grpSpPr>
          <a:xfrm>
            <a:off x="1648962" y="1958446"/>
            <a:ext cx="11626406" cy="1663309"/>
            <a:chOff x="660400" y="3763433"/>
            <a:chExt cx="7190536" cy="1028700"/>
          </a:xfrm>
        </p:grpSpPr>
        <p:sp>
          <p:nvSpPr>
            <p:cNvPr id="5" name="矩形: 圆角 4">
              <a:extLst>
                <a:ext uri="{FF2B5EF4-FFF2-40B4-BE49-F238E27FC236}">
                  <a16:creationId xmlns:a16="http://schemas.microsoft.com/office/drawing/2014/main" id="{1DB8D2A3-6BBD-A13C-E10F-41A93F657814}"/>
                </a:ext>
              </a:extLst>
            </p:cNvPr>
            <p:cNvSpPr/>
            <p:nvPr/>
          </p:nvSpPr>
          <p:spPr>
            <a:xfrm>
              <a:off x="1338394" y="3763433"/>
              <a:ext cx="4505004" cy="1028700"/>
            </a:xfrm>
            <a:prstGeom prst="roundRect">
              <a:avLst>
                <a:gd name="adj" fmla="val 10700"/>
              </a:avLst>
            </a:prstGeom>
            <a:solidFill>
              <a:schemeClr val="accent2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97A4438C-C649-7577-90CE-D96B2FBA89FB}"/>
                </a:ext>
              </a:extLst>
            </p:cNvPr>
            <p:cNvSpPr txBox="1"/>
            <p:nvPr/>
          </p:nvSpPr>
          <p:spPr>
            <a:xfrm>
              <a:off x="1985433" y="3788559"/>
              <a:ext cx="1002507" cy="32359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b="1" kern="100" dirty="0">
                  <a:solidFill>
                    <a:schemeClr val="accent1"/>
                  </a:solidFill>
                  <a:effectLst/>
                  <a:cs typeface="Times New Roman" panose="02020603050405020304" pitchFamily="18" charset="0"/>
                </a:rPr>
                <a:t>教学重点</a:t>
              </a:r>
              <a:endParaRPr lang="zh-CN" altLang="en-US" sz="2800" b="1" dirty="0">
                <a:solidFill>
                  <a:schemeClr val="accent1"/>
                </a:solidFill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1F099526-79C8-8E78-7419-9942D6D6D2D3}"/>
                </a:ext>
              </a:extLst>
            </p:cNvPr>
            <p:cNvSpPr txBox="1"/>
            <p:nvPr/>
          </p:nvSpPr>
          <p:spPr>
            <a:xfrm>
              <a:off x="1985433" y="4144586"/>
              <a:ext cx="5865503" cy="494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1.c2c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电子商务平台的银行账户开通及业务处理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2.c2c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电子商务平台的支付通账户开通及业务处理</a:t>
              </a:r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B82567F-98E2-44AF-ABFF-DBA498F7931A}"/>
                </a:ext>
              </a:extLst>
            </p:cNvPr>
            <p:cNvCxnSpPr>
              <a:cxnSpLocks/>
            </p:cNvCxnSpPr>
            <p:nvPr/>
          </p:nvCxnSpPr>
          <p:spPr>
            <a:xfrm>
              <a:off x="2101850" y="4177277"/>
              <a:ext cx="3530598" cy="0"/>
            </a:xfrm>
            <a:prstGeom prst="line">
              <a:avLst/>
            </a:prstGeom>
            <a:ln w="3175">
              <a:solidFill>
                <a:schemeClr val="accent1">
                  <a:alpha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E7A45AD-D610-7B7D-A13A-8DE66DAC2A52}"/>
                </a:ext>
              </a:extLst>
            </p:cNvPr>
            <p:cNvGrpSpPr/>
            <p:nvPr/>
          </p:nvGrpSpPr>
          <p:grpSpPr>
            <a:xfrm>
              <a:off x="660400" y="3763433"/>
              <a:ext cx="1242483" cy="1028700"/>
              <a:chOff x="660400" y="3763433"/>
              <a:chExt cx="1242483" cy="1028700"/>
            </a:xfrm>
          </p:grpSpPr>
          <p:sp>
            <p:nvSpPr>
              <p:cNvPr id="10" name="矩形: 圆角 9">
                <a:extLst>
                  <a:ext uri="{FF2B5EF4-FFF2-40B4-BE49-F238E27FC236}">
                    <a16:creationId xmlns:a16="http://schemas.microsoft.com/office/drawing/2014/main" id="{21AB0206-B1E4-AACF-CC0F-07E23C64FE88}"/>
                  </a:ext>
                </a:extLst>
              </p:cNvPr>
              <p:cNvSpPr/>
              <p:nvPr/>
            </p:nvSpPr>
            <p:spPr>
              <a:xfrm>
                <a:off x="660400" y="3763433"/>
                <a:ext cx="1242483" cy="1028700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accent2"/>
                  </a:gs>
                  <a:gs pos="75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pic>
            <p:nvPicPr>
              <p:cNvPr id="11" name="图形 10" descr="饼图演示文稿">
                <a:extLst>
                  <a:ext uri="{FF2B5EF4-FFF2-40B4-BE49-F238E27FC236}">
                    <a16:creationId xmlns:a16="http://schemas.microsoft.com/office/drawing/2014/main" id="{55054107-319B-E84A-DFF3-762A3C1F03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82531" y="3878673"/>
                <a:ext cx="798221" cy="798221"/>
              </a:xfrm>
              <a:prstGeom prst="rect">
                <a:avLst/>
              </a:prstGeom>
            </p:spPr>
          </p:pic>
        </p:grp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029C70F4-1360-5E03-9239-07602AB00ED2}"/>
              </a:ext>
            </a:extLst>
          </p:cNvPr>
          <p:cNvGrpSpPr/>
          <p:nvPr/>
        </p:nvGrpSpPr>
        <p:grpSpPr>
          <a:xfrm>
            <a:off x="1728791" y="4238043"/>
            <a:ext cx="11626406" cy="1784813"/>
            <a:chOff x="660400" y="3763433"/>
            <a:chExt cx="7190536" cy="1103846"/>
          </a:xfrm>
        </p:grpSpPr>
        <p:sp>
          <p:nvSpPr>
            <p:cNvPr id="23" name="矩形: 圆角 22">
              <a:extLst>
                <a:ext uri="{FF2B5EF4-FFF2-40B4-BE49-F238E27FC236}">
                  <a16:creationId xmlns:a16="http://schemas.microsoft.com/office/drawing/2014/main" id="{BD0F1AE9-31B2-6FBF-DEB6-B96F756D57A2}"/>
                </a:ext>
              </a:extLst>
            </p:cNvPr>
            <p:cNvSpPr/>
            <p:nvPr/>
          </p:nvSpPr>
          <p:spPr>
            <a:xfrm>
              <a:off x="1338394" y="3763433"/>
              <a:ext cx="4505004" cy="1028700"/>
            </a:xfrm>
            <a:prstGeom prst="roundRect">
              <a:avLst>
                <a:gd name="adj" fmla="val 10700"/>
              </a:avLst>
            </a:prstGeom>
            <a:solidFill>
              <a:schemeClr val="accent2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9B5D981C-20F7-EF84-A318-6B36BDD8FB4B}"/>
                </a:ext>
              </a:extLst>
            </p:cNvPr>
            <p:cNvSpPr txBox="1"/>
            <p:nvPr/>
          </p:nvSpPr>
          <p:spPr>
            <a:xfrm>
              <a:off x="1985433" y="3788559"/>
              <a:ext cx="1002507" cy="32359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b="1" kern="100" dirty="0">
                  <a:solidFill>
                    <a:schemeClr val="accent1"/>
                  </a:solidFill>
                  <a:effectLst/>
                  <a:cs typeface="Times New Roman" panose="02020603050405020304" pitchFamily="18" charset="0"/>
                </a:rPr>
                <a:t>教学难点</a:t>
              </a:r>
              <a:endParaRPr lang="zh-CN" altLang="en-US" sz="2800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CD513758-45B2-3AF2-CE13-ED438D55E0C4}"/>
                </a:ext>
              </a:extLst>
            </p:cNvPr>
            <p:cNvSpPr txBox="1"/>
            <p:nvPr/>
          </p:nvSpPr>
          <p:spPr>
            <a:xfrm>
              <a:off x="1985433" y="4144586"/>
              <a:ext cx="5865503" cy="722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1.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为</a:t>
              </a: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c2c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电子商务平台的个人银行账户转账汇款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2.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为</a:t>
              </a: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c2c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电子商务平台的企业银行账户开通付款通道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3.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为</a:t>
              </a:r>
              <a:r>
                <a:rPr lang="en-US" altLang="zh-CN" sz="2000" kern="100" dirty="0">
                  <a:effectLst/>
                  <a:cs typeface="Times New Roman" panose="02020603050405020304" pitchFamily="18" charset="0"/>
                </a:rPr>
                <a:t>c2c</a:t>
              </a:r>
              <a:r>
                <a:rPr lang="zh-CN" altLang="en-US" sz="2000" kern="100" dirty="0">
                  <a:effectLst/>
                  <a:cs typeface="Times New Roman" panose="02020603050405020304" pitchFamily="18" charset="0"/>
                </a:rPr>
                <a:t>电子商务平台的支付通账户开通商家服务</a:t>
              </a: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5D68F054-6A47-44E1-AA4B-DF122F6898EE}"/>
                </a:ext>
              </a:extLst>
            </p:cNvPr>
            <p:cNvCxnSpPr>
              <a:cxnSpLocks/>
            </p:cNvCxnSpPr>
            <p:nvPr/>
          </p:nvCxnSpPr>
          <p:spPr>
            <a:xfrm>
              <a:off x="2101850" y="4177277"/>
              <a:ext cx="3530598" cy="0"/>
            </a:xfrm>
            <a:prstGeom prst="line">
              <a:avLst/>
            </a:prstGeom>
            <a:ln w="3175">
              <a:solidFill>
                <a:schemeClr val="accent1">
                  <a:alpha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D312859F-DA38-F5D9-F1A5-155A0CE97D40}"/>
                </a:ext>
              </a:extLst>
            </p:cNvPr>
            <p:cNvSpPr/>
            <p:nvPr/>
          </p:nvSpPr>
          <p:spPr>
            <a:xfrm>
              <a:off x="660400" y="3763433"/>
              <a:ext cx="1242483" cy="1028700"/>
            </a:xfrm>
            <a:prstGeom prst="roundRect">
              <a:avLst/>
            </a:prstGeom>
            <a:gradFill flip="none" rotWithShape="1">
              <a:gsLst>
                <a:gs pos="0">
                  <a:schemeClr val="accent2"/>
                </a:gs>
                <a:gs pos="75000">
                  <a:schemeClr val="accent1"/>
                </a:gs>
              </a:gsLst>
              <a:lin ang="4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pic>
        <p:nvPicPr>
          <p:cNvPr id="30" name="图形 29" descr="研究">
            <a:extLst>
              <a:ext uri="{FF2B5EF4-FFF2-40B4-BE49-F238E27FC236}">
                <a16:creationId xmlns:a16="http://schemas.microsoft.com/office/drawing/2014/main" id="{1525F614-244F-E438-6A0C-78493A1BED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82799" y="4379368"/>
            <a:ext cx="1353985" cy="135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150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lt"/>
              </a:rPr>
              <a:t>任务实施</a:t>
            </a: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B1FD809-9517-5F8B-64FA-E72751DCA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C99CA1E4-486A-E2EA-E17E-C299DB8EA94F}"/>
              </a:ext>
            </a:extLst>
          </p:cNvPr>
          <p:cNvGrpSpPr/>
          <p:nvPr/>
        </p:nvGrpSpPr>
        <p:grpSpPr>
          <a:xfrm>
            <a:off x="1548627" y="2388686"/>
            <a:ext cx="8943332" cy="666338"/>
            <a:chOff x="757123" y="1554775"/>
            <a:chExt cx="4298950" cy="1917700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91F65BCA-C3D5-46D0-E12C-C00A081B9219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1597E426-9682-4DB6-435C-EA64EE9FD7D3}"/>
                </a:ext>
              </a:extLst>
            </p:cNvPr>
            <p:cNvSpPr txBox="1"/>
            <p:nvPr/>
          </p:nvSpPr>
          <p:spPr>
            <a:xfrm>
              <a:off x="1233631" y="2154075"/>
              <a:ext cx="3706811" cy="8154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1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基础信息设置（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25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分钟）</a:t>
              </a: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22ECDE6D-E0D1-9AC2-C3AB-B6C1442E8EC5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150F07E3-6CAA-5266-52F6-AC16F1E7C4C9}"/>
              </a:ext>
            </a:extLst>
          </p:cNvPr>
          <p:cNvSpPr/>
          <p:nvPr/>
        </p:nvSpPr>
        <p:spPr>
          <a:xfrm>
            <a:off x="3644899" y="1319499"/>
            <a:ext cx="4999697" cy="940940"/>
          </a:xfrm>
          <a:prstGeom prst="roundRect">
            <a:avLst>
              <a:gd name="adj" fmla="val 26019"/>
            </a:avLst>
          </a:prstGeom>
          <a:gradFill flip="none" rotWithShape="1">
            <a:gsLst>
              <a:gs pos="0">
                <a:schemeClr val="accent2"/>
              </a:gs>
              <a:gs pos="66000">
                <a:schemeClr val="accent1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任务</a:t>
            </a:r>
            <a:r>
              <a:rPr lang="en-US" altLang="zh-CN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1</a:t>
            </a:r>
            <a:r>
              <a:rPr lang="zh-CN" altLang="zh-CN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：</a:t>
            </a:r>
            <a:r>
              <a:rPr lang="zh-CN" altLang="en-US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网上银行基本业务操作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EE541F5-385F-3AD7-4AE2-9AB90FBE9985}"/>
              </a:ext>
            </a:extLst>
          </p:cNvPr>
          <p:cNvGrpSpPr/>
          <p:nvPr/>
        </p:nvGrpSpPr>
        <p:grpSpPr>
          <a:xfrm>
            <a:off x="1548627" y="3278247"/>
            <a:ext cx="8943332" cy="666338"/>
            <a:chOff x="757123" y="1554775"/>
            <a:chExt cx="4298950" cy="1917700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22F0DEB9-740E-E06B-17BA-1170EA039EC2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88FA9290-69D1-1F45-D2FA-ABA20B22F19B}"/>
                </a:ext>
              </a:extLst>
            </p:cNvPr>
            <p:cNvSpPr txBox="1"/>
            <p:nvPr/>
          </p:nvSpPr>
          <p:spPr>
            <a:xfrm>
              <a:off x="1202548" y="2093084"/>
              <a:ext cx="3706811" cy="8154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2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个人银行存款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07A3CABC-7380-77F3-FB3D-5DC7D0BDB784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C86752A-0CFC-3D81-787D-8210439A54B4}"/>
              </a:ext>
            </a:extLst>
          </p:cNvPr>
          <p:cNvGrpSpPr/>
          <p:nvPr/>
        </p:nvGrpSpPr>
        <p:grpSpPr>
          <a:xfrm>
            <a:off x="1548627" y="4167808"/>
            <a:ext cx="8943332" cy="666338"/>
            <a:chOff x="757123" y="1554775"/>
            <a:chExt cx="4298950" cy="1917700"/>
          </a:xfrm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638474E3-F25D-CA94-07DA-BDE5AB1DD6C4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22283CC-F1CF-377D-40EA-4B4AAE415ACB}"/>
                </a:ext>
              </a:extLst>
            </p:cNvPr>
            <p:cNvSpPr txBox="1"/>
            <p:nvPr/>
          </p:nvSpPr>
          <p:spPr>
            <a:xfrm>
              <a:off x="1202548" y="2094371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3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个人银行转账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46F19967-39AB-1738-8AD0-AEE07B8A8D20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9E18079-66B7-A310-0AC8-9A046FC22F0F}"/>
              </a:ext>
            </a:extLst>
          </p:cNvPr>
          <p:cNvGrpSpPr/>
          <p:nvPr/>
        </p:nvGrpSpPr>
        <p:grpSpPr>
          <a:xfrm>
            <a:off x="1548627" y="5057369"/>
            <a:ext cx="8943332" cy="666338"/>
            <a:chOff x="757123" y="1554775"/>
            <a:chExt cx="4298950" cy="1917700"/>
          </a:xfrm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9C1C0E4A-555D-C4C1-4410-A8AADE708402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BCDB10DB-2F27-C2F4-081B-9E21EF9678E8}"/>
                </a:ext>
              </a:extLst>
            </p:cNvPr>
            <p:cNvSpPr txBox="1"/>
            <p:nvPr/>
          </p:nvSpPr>
          <p:spPr>
            <a:xfrm>
              <a:off x="1202548" y="2105897"/>
              <a:ext cx="3706811" cy="8154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4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企业银行存款</a:t>
              </a: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1FFE3D18-238B-D601-2AE4-7E4550BC6767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8CB15D40-0A98-0338-A303-F0C273DB28BB}"/>
              </a:ext>
            </a:extLst>
          </p:cNvPr>
          <p:cNvGrpSpPr/>
          <p:nvPr/>
        </p:nvGrpSpPr>
        <p:grpSpPr>
          <a:xfrm>
            <a:off x="1548627" y="5946932"/>
            <a:ext cx="8943332" cy="666338"/>
            <a:chOff x="757123" y="1554775"/>
            <a:chExt cx="4298950" cy="1917700"/>
          </a:xfrm>
        </p:grpSpPr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3AA198FA-15D1-3A45-0EAD-06258D8F4558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48B3B5FF-FEC6-225B-B420-D4674AAB8916}"/>
                </a:ext>
              </a:extLst>
            </p:cNvPr>
            <p:cNvSpPr txBox="1"/>
            <p:nvPr/>
          </p:nvSpPr>
          <p:spPr>
            <a:xfrm>
              <a:off x="1202548" y="2105897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5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企业账户开通付款通道</a:t>
              </a: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84480A77-AF49-D741-FBEB-08E22E6D2675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80854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lt"/>
              </a:rPr>
              <a:t>任务实施</a:t>
            </a: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B1FD809-9517-5F8B-64FA-E72751DCA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C99CA1E4-486A-E2EA-E17E-C299DB8EA94F}"/>
              </a:ext>
            </a:extLst>
          </p:cNvPr>
          <p:cNvGrpSpPr/>
          <p:nvPr/>
        </p:nvGrpSpPr>
        <p:grpSpPr>
          <a:xfrm>
            <a:off x="1548627" y="2388686"/>
            <a:ext cx="8943332" cy="666338"/>
            <a:chOff x="757123" y="1554775"/>
            <a:chExt cx="4298950" cy="1917700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91F65BCA-C3D5-46D0-E12C-C00A081B9219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1597E426-9682-4DB6-435C-EA64EE9FD7D3}"/>
                </a:ext>
              </a:extLst>
            </p:cNvPr>
            <p:cNvSpPr txBox="1"/>
            <p:nvPr/>
          </p:nvSpPr>
          <p:spPr>
            <a:xfrm>
              <a:off x="1223312" y="1937870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1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支付通服务商绑定企业银行账户</a:t>
              </a: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22ECDE6D-E0D1-9AC2-C3AB-B6C1442E8EC5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150F07E3-6CAA-5266-52F6-AC16F1E7C4C9}"/>
              </a:ext>
            </a:extLst>
          </p:cNvPr>
          <p:cNvSpPr/>
          <p:nvPr/>
        </p:nvSpPr>
        <p:spPr>
          <a:xfrm>
            <a:off x="3644899" y="1319499"/>
            <a:ext cx="4999697" cy="940940"/>
          </a:xfrm>
          <a:prstGeom prst="roundRect">
            <a:avLst>
              <a:gd name="adj" fmla="val 26019"/>
            </a:avLst>
          </a:prstGeom>
          <a:gradFill flip="none" rotWithShape="1">
            <a:gsLst>
              <a:gs pos="0">
                <a:schemeClr val="accent2"/>
              </a:gs>
              <a:gs pos="66000">
                <a:schemeClr val="accent1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任务</a:t>
            </a:r>
            <a:r>
              <a:rPr lang="en-US" altLang="zh-CN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2</a:t>
            </a:r>
            <a:r>
              <a:rPr lang="zh-CN" altLang="en-US" sz="2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：支付通基本业务操作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EE541F5-385F-3AD7-4AE2-9AB90FBE9985}"/>
              </a:ext>
            </a:extLst>
          </p:cNvPr>
          <p:cNvGrpSpPr/>
          <p:nvPr/>
        </p:nvGrpSpPr>
        <p:grpSpPr>
          <a:xfrm>
            <a:off x="1548627" y="3278247"/>
            <a:ext cx="8943332" cy="666338"/>
            <a:chOff x="757123" y="1554775"/>
            <a:chExt cx="4298950" cy="1917700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22F0DEB9-740E-E06B-17BA-1170EA039EC2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88FA9290-69D1-1F45-D2FA-ABA20B22F19B}"/>
                </a:ext>
              </a:extLst>
            </p:cNvPr>
            <p:cNvSpPr txBox="1"/>
            <p:nvPr/>
          </p:nvSpPr>
          <p:spPr>
            <a:xfrm>
              <a:off x="1202548" y="2093085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2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注册支付通账户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07A3CABC-7380-77F3-FB3D-5DC7D0BDB784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C86752A-0CFC-3D81-787D-8210439A54B4}"/>
              </a:ext>
            </a:extLst>
          </p:cNvPr>
          <p:cNvGrpSpPr/>
          <p:nvPr/>
        </p:nvGrpSpPr>
        <p:grpSpPr>
          <a:xfrm>
            <a:off x="1548627" y="4167808"/>
            <a:ext cx="8943332" cy="666338"/>
            <a:chOff x="757123" y="1554775"/>
            <a:chExt cx="4298950" cy="1917700"/>
          </a:xfrm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638474E3-F25D-CA94-07DA-BDE5AB1DD6C4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22283CC-F1CF-377D-40EA-4B4AAE415ACB}"/>
                </a:ext>
              </a:extLst>
            </p:cNvPr>
            <p:cNvSpPr txBox="1"/>
            <p:nvPr/>
          </p:nvSpPr>
          <p:spPr>
            <a:xfrm>
              <a:off x="1202548" y="2094371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3: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支付通账户充值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46F19967-39AB-1738-8AD0-AEE07B8A8D20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9E18079-66B7-A310-0AC8-9A046FC22F0F}"/>
              </a:ext>
            </a:extLst>
          </p:cNvPr>
          <p:cNvGrpSpPr/>
          <p:nvPr/>
        </p:nvGrpSpPr>
        <p:grpSpPr>
          <a:xfrm>
            <a:off x="1548627" y="5057369"/>
            <a:ext cx="8943332" cy="666338"/>
            <a:chOff x="757123" y="1554775"/>
            <a:chExt cx="4298950" cy="1917700"/>
          </a:xfrm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9C1C0E4A-555D-C4C1-4410-A8AADE708402}"/>
                </a:ext>
              </a:extLst>
            </p:cNvPr>
            <p:cNvSpPr/>
            <p:nvPr/>
          </p:nvSpPr>
          <p:spPr>
            <a:xfrm>
              <a:off x="757123" y="1554775"/>
              <a:ext cx="4298950" cy="1917700"/>
            </a:xfrm>
            <a:prstGeom prst="roundRect">
              <a:avLst/>
            </a:prstGeom>
            <a:solidFill>
              <a:schemeClr val="bg1"/>
            </a:solidFill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  <a:effectLst>
              <a:outerShdw blurRad="381000" sx="102000" sy="102000" algn="ctr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BCDB10DB-2F27-C2F4-081B-9E21EF9678E8}"/>
                </a:ext>
              </a:extLst>
            </p:cNvPr>
            <p:cNvSpPr txBox="1"/>
            <p:nvPr/>
          </p:nvSpPr>
          <p:spPr>
            <a:xfrm>
              <a:off x="1202548" y="2105897"/>
              <a:ext cx="3706811" cy="11515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活动</a:t>
              </a:r>
              <a:r>
                <a:rPr lang="en-US" altLang="zh-CN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4</a:t>
              </a:r>
              <a:r>
                <a:rPr lang="zh-CN" altLang="en-US" sz="2000" b="1" kern="100" dirty="0">
                  <a:solidFill>
                    <a:schemeClr val="accent1"/>
                  </a:solidFill>
                  <a:cs typeface="Times New Roman" panose="02020603050405020304" pitchFamily="18" charset="0"/>
                </a:rPr>
                <a:t>：支付通账户开通商家服务</a:t>
              </a: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1FFE3D18-238B-D601-2AE4-7E4550BC6767}"/>
                </a:ext>
              </a:extLst>
            </p:cNvPr>
            <p:cNvSpPr/>
            <p:nvPr/>
          </p:nvSpPr>
          <p:spPr>
            <a:xfrm>
              <a:off x="924601" y="2275988"/>
              <a:ext cx="131233" cy="47527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9073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88" y="318042"/>
            <a:ext cx="5924867" cy="5016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C2C</a:t>
            </a:r>
            <a:r>
              <a:rPr lang="zh-CN" altLang="en-US" sz="2800" dirty="0"/>
              <a:t>电子商务平台电子支付准备</a:t>
            </a:r>
            <a:endParaRPr lang="zh-CN" altLang="en-US" dirty="0">
              <a:latin typeface="+mj-lt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475F720-0A00-FF5B-71D1-4466A0E8A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B1F199C6-6750-153D-85F3-F4232F334F9A}"/>
              </a:ext>
            </a:extLst>
          </p:cNvPr>
          <p:cNvSpPr/>
          <p:nvPr/>
        </p:nvSpPr>
        <p:spPr>
          <a:xfrm>
            <a:off x="2849517" y="1405007"/>
            <a:ext cx="7391763" cy="5523332"/>
          </a:xfrm>
          <a:prstGeom prst="roundRect">
            <a:avLst>
              <a:gd name="adj" fmla="val 2098"/>
            </a:avLst>
          </a:prstGeom>
          <a:solidFill>
            <a:schemeClr val="bg1"/>
          </a:solidFill>
          <a:ln>
            <a:gradFill>
              <a:gsLst>
                <a:gs pos="22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  <a:effectLst/>
          <a:scene3d>
            <a:camera prst="orthographicFront"/>
            <a:lightRig rig="contrasting" dir="t"/>
          </a:scene3d>
          <a:sp3d>
            <a:bevelT w="254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【实践考核点】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1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注册账户申请审批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2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账户存款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3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转账汇款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4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注册企业账号申请审批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5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企业账号存款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6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企业账户开通付款通道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7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支付通服务商绑定企业银行账户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8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注册支付通账户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1800" kern="10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9.</a:t>
            </a:r>
            <a:r>
              <a:rPr lang="zh-CN" altLang="zh-CN" sz="1800" kern="10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支付通账户充值</a:t>
            </a:r>
            <a:endParaRPr lang="zh-CN" altLang="zh-CN" sz="1800" kern="1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1800">
                <a:effectLst/>
                <a:latin typeface="宋体" panose="02010600030101010101" pitchFamily="2" charset="-122"/>
                <a:cs typeface="Times New Roman" panose="02020603050405020304" pitchFamily="18" charset="0"/>
              </a:rPr>
              <a:t>10.</a:t>
            </a:r>
            <a:r>
              <a:rPr lang="zh-CN" altLang="zh-CN" sz="1800">
                <a:effectLst/>
                <a:ea typeface="宋体" panose="02010600030101010101" pitchFamily="2" charset="-122"/>
                <a:cs typeface="Times New Roman" panose="02020603050405020304" pitchFamily="18" charset="0"/>
              </a:rPr>
              <a:t>支付通账户开通商家服务</a:t>
            </a:r>
            <a:endParaRPr lang="zh-CN" altLang="en-US" dirty="0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4169876E-E348-91B2-B570-94F286E7E12E}"/>
              </a:ext>
            </a:extLst>
          </p:cNvPr>
          <p:cNvSpPr/>
          <p:nvPr/>
        </p:nvSpPr>
        <p:spPr>
          <a:xfrm>
            <a:off x="2040559" y="1022875"/>
            <a:ext cx="1819943" cy="890873"/>
          </a:xfrm>
          <a:custGeom>
            <a:avLst/>
            <a:gdLst>
              <a:gd name="connsiteX0" fmla="*/ 107404 w 1316354"/>
              <a:gd name="connsiteY0" fmla="*/ 997167 h 998896"/>
              <a:gd name="connsiteX1" fmla="*/ 1243757 w 1316354"/>
              <a:gd name="connsiteY1" fmla="*/ 773200 h 998896"/>
              <a:gd name="connsiteX2" fmla="*/ 1316354 w 1316354"/>
              <a:gd name="connsiteY2" fmla="*/ 684899 h 998896"/>
              <a:gd name="connsiteX3" fmla="*/ 1316354 w 1316354"/>
              <a:gd name="connsiteY3" fmla="*/ 90032 h 998896"/>
              <a:gd name="connsiteX4" fmla="*/ 1208950 w 1316354"/>
              <a:gd name="connsiteY4" fmla="*/ 1730 h 998896"/>
              <a:gd name="connsiteX5" fmla="*/ 72596 w 1316354"/>
              <a:gd name="connsiteY5" fmla="*/ 225697 h 998896"/>
              <a:gd name="connsiteX6" fmla="*/ 0 w 1316354"/>
              <a:gd name="connsiteY6" fmla="*/ 313998 h 998896"/>
              <a:gd name="connsiteX7" fmla="*/ 0 w 1316354"/>
              <a:gd name="connsiteY7" fmla="*/ 908866 h 998896"/>
              <a:gd name="connsiteX8" fmla="*/ 107404 w 1316354"/>
              <a:gd name="connsiteY8" fmla="*/ 997167 h 998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6354" h="998896">
                <a:moveTo>
                  <a:pt x="107404" y="997167"/>
                </a:moveTo>
                <a:lnTo>
                  <a:pt x="1243757" y="773200"/>
                </a:lnTo>
                <a:cubicBezTo>
                  <a:pt x="1285936" y="764887"/>
                  <a:pt x="1316354" y="727889"/>
                  <a:pt x="1316354" y="684899"/>
                </a:cubicBezTo>
                <a:lnTo>
                  <a:pt x="1316354" y="90032"/>
                </a:lnTo>
                <a:cubicBezTo>
                  <a:pt x="1316354" y="33326"/>
                  <a:pt x="1264585" y="-9235"/>
                  <a:pt x="1208950" y="1730"/>
                </a:cubicBezTo>
                <a:lnTo>
                  <a:pt x="72596" y="225697"/>
                </a:lnTo>
                <a:cubicBezTo>
                  <a:pt x="30418" y="234010"/>
                  <a:pt x="0" y="271008"/>
                  <a:pt x="0" y="313998"/>
                </a:cubicBezTo>
                <a:lnTo>
                  <a:pt x="0" y="908866"/>
                </a:lnTo>
                <a:cubicBezTo>
                  <a:pt x="0" y="965572"/>
                  <a:pt x="51768" y="1008133"/>
                  <a:pt x="107404" y="997167"/>
                </a:cubicBezTo>
              </a:path>
            </a:pathLst>
          </a:custGeom>
          <a:gradFill flip="none" rotWithShape="1">
            <a:gsLst>
              <a:gs pos="25000">
                <a:schemeClr val="accent1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190500" dist="38100" dir="5400000" algn="t" rotWithShape="0">
              <a:schemeClr val="accent1">
                <a:lumMod val="7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lt"/>
              </a:rPr>
              <a:t>得分提示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6F81568-7E9D-7242-C442-2517E3923DF6}"/>
              </a:ext>
            </a:extLst>
          </p:cNvPr>
          <p:cNvSpPr txBox="1"/>
          <p:nvPr/>
        </p:nvSpPr>
        <p:spPr>
          <a:xfrm>
            <a:off x="4058933" y="1753233"/>
            <a:ext cx="497292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【实践考核点】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1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注册账户申请审批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2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账户存款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3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个人转账汇款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4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注册企业账号申请审批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5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企业账号存款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6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企业账户开通付款通道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7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支付通服务商绑定企业银行账户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8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注册支付通账户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2400" kern="100" dirty="0">
                <a:effectLst/>
                <a:latin typeface="宋体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9.</a:t>
            </a:r>
            <a:r>
              <a:rPr lang="zh-CN" altLang="zh-CN" sz="2400" kern="100" dirty="0">
                <a:effectLst/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支付通账户充值</a:t>
            </a:r>
            <a:endParaRPr lang="zh-CN" altLang="zh-CN" sz="24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2400" dirty="0">
                <a:effectLst/>
                <a:latin typeface="宋体" panose="02010600030101010101" pitchFamily="2" charset="-122"/>
                <a:cs typeface="Times New Roman" panose="02020603050405020304" pitchFamily="18" charset="0"/>
              </a:rPr>
              <a:t>10.</a:t>
            </a:r>
            <a:r>
              <a:rPr lang="zh-CN" altLang="zh-CN" sz="2400" dirty="0">
                <a:effectLst/>
                <a:ea typeface="宋体" panose="02010600030101010101" pitchFamily="2" charset="-122"/>
                <a:cs typeface="Times New Roman" panose="02020603050405020304" pitchFamily="18" charset="0"/>
              </a:rPr>
              <a:t>支付通账户开通商家服务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645271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8F97A-C13C-FCEB-FC5F-A6EC8FDC9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lt"/>
              </a:rPr>
              <a:t>汇报内容</a:t>
            </a:r>
          </a:p>
        </p:txBody>
      </p:sp>
      <p:sp>
        <p:nvSpPr>
          <p:cNvPr id="13" name="日期占位符 12">
            <a:extLst>
              <a:ext uri="{FF2B5EF4-FFF2-40B4-BE49-F238E27FC236}">
                <a16:creationId xmlns:a16="http://schemas.microsoft.com/office/drawing/2014/main" id="{EBA69FB4-736E-4479-878D-8C5EC76A9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11613-660B-49AF-942D-D5764BAD999D}" type="datetime1">
              <a:rPr lang="zh-CN" altLang="en-US" smtClean="0"/>
              <a:t>2023/7/17</a:t>
            </a:fld>
            <a:endParaRPr lang="zh-CN" altLang="en-US" dirty="0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90BE52D-F337-D1B6-B06A-C2445057D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af-ZA" altLang="zh-CN"/>
              <a:t>OfficePLUS</a:t>
            </a:r>
            <a:endParaRPr lang="af-ZA" altLang="zh-CN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C188DC4-DB68-DE43-D4EA-AAE36A22B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6B054-68FE-4499-9E56-B0DA1E971F35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B840397D-4A4F-1E11-30CF-C90B210B6B9D}"/>
              </a:ext>
            </a:extLst>
          </p:cNvPr>
          <p:cNvGrpSpPr/>
          <p:nvPr/>
        </p:nvGrpSpPr>
        <p:grpSpPr>
          <a:xfrm>
            <a:off x="1484786" y="2220688"/>
            <a:ext cx="2776244" cy="520080"/>
            <a:chOff x="626533" y="1557308"/>
            <a:chExt cx="4580467" cy="520080"/>
          </a:xfrm>
        </p:grpSpPr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AF7E91BC-B6C3-D56E-4434-B4C18C4E2308}"/>
                </a:ext>
              </a:extLst>
            </p:cNvPr>
            <p:cNvCxnSpPr>
              <a:cxnSpLocks/>
            </p:cNvCxnSpPr>
            <p:nvPr/>
          </p:nvCxnSpPr>
          <p:spPr>
            <a:xfrm>
              <a:off x="673100" y="1948583"/>
              <a:ext cx="4533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36F20050-D541-9097-4F0D-82EE90E44F1C}"/>
                </a:ext>
              </a:extLst>
            </p:cNvPr>
            <p:cNvGrpSpPr/>
            <p:nvPr/>
          </p:nvGrpSpPr>
          <p:grpSpPr>
            <a:xfrm>
              <a:off x="626533" y="1819154"/>
              <a:ext cx="258234" cy="258234"/>
              <a:chOff x="5063066" y="2190438"/>
              <a:chExt cx="258234" cy="258234"/>
            </a:xfrm>
          </p:grpSpPr>
          <p:sp>
            <p:nvSpPr>
              <p:cNvPr id="52" name="椭圆 51">
                <a:extLst>
                  <a:ext uri="{FF2B5EF4-FFF2-40B4-BE49-F238E27FC236}">
                    <a16:creationId xmlns:a16="http://schemas.microsoft.com/office/drawing/2014/main" id="{390D5215-A6BA-F375-BE6E-B96B0998CC85}"/>
                  </a:ext>
                </a:extLst>
              </p:cNvPr>
              <p:cNvSpPr/>
              <p:nvPr/>
            </p:nvSpPr>
            <p:spPr>
              <a:xfrm>
                <a:off x="5063066" y="2190438"/>
                <a:ext cx="258234" cy="25823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>
                      <a:alpha val="10000"/>
                    </a:schemeClr>
                  </a:gs>
                  <a:gs pos="90000">
                    <a:schemeClr val="accent1">
                      <a:alpha val="31000"/>
                    </a:schemeClr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DD6240F0-2E8C-795C-6908-D8590F5C61C8}"/>
                  </a:ext>
                </a:extLst>
              </p:cNvPr>
              <p:cNvSpPr/>
              <p:nvPr/>
            </p:nvSpPr>
            <p:spPr>
              <a:xfrm>
                <a:off x="5109633" y="2237005"/>
                <a:ext cx="165100" cy="1651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90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5" name="文本框 64">
              <a:extLst>
                <a:ext uri="{FF2B5EF4-FFF2-40B4-BE49-F238E27FC236}">
                  <a16:creationId xmlns:a16="http://schemas.microsoft.com/office/drawing/2014/main" id="{260FC6AD-EB85-23F7-580B-3AA17E7A4BC1}"/>
                </a:ext>
              </a:extLst>
            </p:cNvPr>
            <p:cNvSpPr txBox="1"/>
            <p:nvPr/>
          </p:nvSpPr>
          <p:spPr>
            <a:xfrm>
              <a:off x="838200" y="1557308"/>
              <a:ext cx="31115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effectLst/>
                  <a:cs typeface="Times New Roman" panose="02020603050405020304" pitchFamily="18" charset="0"/>
                </a:rPr>
                <a:t>学习内容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F3204CBE-79D4-58CE-E45B-F303C3548EBE}"/>
              </a:ext>
            </a:extLst>
          </p:cNvPr>
          <p:cNvGrpSpPr/>
          <p:nvPr/>
        </p:nvGrpSpPr>
        <p:grpSpPr>
          <a:xfrm>
            <a:off x="1484786" y="4862195"/>
            <a:ext cx="2776244" cy="503551"/>
            <a:chOff x="626533" y="4198815"/>
            <a:chExt cx="4580467" cy="503551"/>
          </a:xfrm>
        </p:grpSpPr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B0F1D1A3-32C4-A5C9-8170-C793ABE1BF28}"/>
                </a:ext>
              </a:extLst>
            </p:cNvPr>
            <p:cNvCxnSpPr>
              <a:cxnSpLocks/>
            </p:cNvCxnSpPr>
            <p:nvPr/>
          </p:nvCxnSpPr>
          <p:spPr>
            <a:xfrm>
              <a:off x="673100" y="4573249"/>
              <a:ext cx="4533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组合 57">
              <a:extLst>
                <a:ext uri="{FF2B5EF4-FFF2-40B4-BE49-F238E27FC236}">
                  <a16:creationId xmlns:a16="http://schemas.microsoft.com/office/drawing/2014/main" id="{A66966D6-55DD-0D18-EEA3-118AAEF8EBED}"/>
                </a:ext>
              </a:extLst>
            </p:cNvPr>
            <p:cNvGrpSpPr/>
            <p:nvPr/>
          </p:nvGrpSpPr>
          <p:grpSpPr>
            <a:xfrm>
              <a:off x="626533" y="4444132"/>
              <a:ext cx="258234" cy="258234"/>
              <a:chOff x="5063066" y="2190438"/>
              <a:chExt cx="258234" cy="258234"/>
            </a:xfrm>
          </p:grpSpPr>
          <p:sp>
            <p:nvSpPr>
              <p:cNvPr id="59" name="椭圆 58">
                <a:extLst>
                  <a:ext uri="{FF2B5EF4-FFF2-40B4-BE49-F238E27FC236}">
                    <a16:creationId xmlns:a16="http://schemas.microsoft.com/office/drawing/2014/main" id="{A157DEE3-FD4C-A690-0B01-E36B83FF2706}"/>
                  </a:ext>
                </a:extLst>
              </p:cNvPr>
              <p:cNvSpPr/>
              <p:nvPr/>
            </p:nvSpPr>
            <p:spPr>
              <a:xfrm>
                <a:off x="5063066" y="2190438"/>
                <a:ext cx="258234" cy="25823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>
                      <a:alpha val="10000"/>
                    </a:schemeClr>
                  </a:gs>
                  <a:gs pos="90000">
                    <a:schemeClr val="accent1">
                      <a:alpha val="31000"/>
                    </a:schemeClr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椭圆 59">
                <a:extLst>
                  <a:ext uri="{FF2B5EF4-FFF2-40B4-BE49-F238E27FC236}">
                    <a16:creationId xmlns:a16="http://schemas.microsoft.com/office/drawing/2014/main" id="{A3D77AD8-ACD8-FBD0-B49A-2839940F752D}"/>
                  </a:ext>
                </a:extLst>
              </p:cNvPr>
              <p:cNvSpPr/>
              <p:nvPr/>
            </p:nvSpPr>
            <p:spPr>
              <a:xfrm>
                <a:off x="5109633" y="2237005"/>
                <a:ext cx="165100" cy="1651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90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B99636CD-EC6E-2C7C-20CD-DB5AA9A2ED0F}"/>
                </a:ext>
              </a:extLst>
            </p:cNvPr>
            <p:cNvSpPr txBox="1"/>
            <p:nvPr/>
          </p:nvSpPr>
          <p:spPr>
            <a:xfrm>
              <a:off x="838200" y="4198815"/>
              <a:ext cx="292417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kern="100" dirty="0">
                  <a:solidFill>
                    <a:schemeClr val="accent1"/>
                  </a:solidFill>
                  <a:effectLst/>
                  <a:cs typeface="Times New Roman" panose="02020603050405020304" pitchFamily="18" charset="0"/>
                </a:rPr>
                <a:t>困难与解决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19A50772-2099-75FE-FFBD-1DC5C413D66F}"/>
              </a:ext>
            </a:extLst>
          </p:cNvPr>
          <p:cNvGrpSpPr/>
          <p:nvPr/>
        </p:nvGrpSpPr>
        <p:grpSpPr>
          <a:xfrm>
            <a:off x="8004517" y="2172315"/>
            <a:ext cx="2373835" cy="520080"/>
            <a:chOff x="6985000" y="1557308"/>
            <a:chExt cx="4580467" cy="520080"/>
          </a:xfrm>
        </p:grpSpPr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9888FBB8-E8A4-3FF1-FEEB-90A4D8D132C7}"/>
                </a:ext>
              </a:extLst>
            </p:cNvPr>
            <p:cNvCxnSpPr>
              <a:cxnSpLocks/>
            </p:cNvCxnSpPr>
            <p:nvPr/>
          </p:nvCxnSpPr>
          <p:spPr>
            <a:xfrm>
              <a:off x="6985000" y="1948583"/>
              <a:ext cx="4533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267B99CE-3C25-DEDE-6A06-5795FF0E5EC1}"/>
                </a:ext>
              </a:extLst>
            </p:cNvPr>
            <p:cNvGrpSpPr/>
            <p:nvPr/>
          </p:nvGrpSpPr>
          <p:grpSpPr>
            <a:xfrm>
              <a:off x="8429625" y="1557308"/>
              <a:ext cx="3135842" cy="520080"/>
              <a:chOff x="8429625" y="1557308"/>
              <a:chExt cx="3135842" cy="520080"/>
            </a:xfrm>
          </p:grpSpPr>
          <p:grpSp>
            <p:nvGrpSpPr>
              <p:cNvPr id="55" name="组合 54">
                <a:extLst>
                  <a:ext uri="{FF2B5EF4-FFF2-40B4-BE49-F238E27FC236}">
                    <a16:creationId xmlns:a16="http://schemas.microsoft.com/office/drawing/2014/main" id="{55CF9719-9FF2-DD46-C9ED-F2949173D3C9}"/>
                  </a:ext>
                </a:extLst>
              </p:cNvPr>
              <p:cNvGrpSpPr/>
              <p:nvPr/>
            </p:nvGrpSpPr>
            <p:grpSpPr>
              <a:xfrm>
                <a:off x="11307233" y="1819154"/>
                <a:ext cx="258234" cy="258234"/>
                <a:chOff x="5063066" y="2190438"/>
                <a:chExt cx="258234" cy="258234"/>
              </a:xfrm>
            </p:grpSpPr>
            <p:sp>
              <p:nvSpPr>
                <p:cNvPr id="56" name="椭圆 55">
                  <a:extLst>
                    <a:ext uri="{FF2B5EF4-FFF2-40B4-BE49-F238E27FC236}">
                      <a16:creationId xmlns:a16="http://schemas.microsoft.com/office/drawing/2014/main" id="{6636E59E-8186-B614-CDAC-7AB6F56BCCD6}"/>
                    </a:ext>
                  </a:extLst>
                </p:cNvPr>
                <p:cNvSpPr/>
                <p:nvPr/>
              </p:nvSpPr>
              <p:spPr>
                <a:xfrm>
                  <a:off x="5063066" y="2190438"/>
                  <a:ext cx="258234" cy="2582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alpha val="10000"/>
                      </a:schemeClr>
                    </a:gs>
                    <a:gs pos="90000">
                      <a:schemeClr val="accent1">
                        <a:alpha val="31000"/>
                      </a:schemeClr>
                    </a:gs>
                  </a:gsLst>
                  <a:lin ang="4200000" scaled="0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57" name="椭圆 56">
                  <a:extLst>
                    <a:ext uri="{FF2B5EF4-FFF2-40B4-BE49-F238E27FC236}">
                      <a16:creationId xmlns:a16="http://schemas.microsoft.com/office/drawing/2014/main" id="{F34F27D9-0C62-4E06-BFB7-35F2BC5D327A}"/>
                    </a:ext>
                  </a:extLst>
                </p:cNvPr>
                <p:cNvSpPr/>
                <p:nvPr/>
              </p:nvSpPr>
              <p:spPr>
                <a:xfrm>
                  <a:off x="5109633" y="2237005"/>
                  <a:ext cx="165100" cy="1651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/>
                    </a:gs>
                    <a:gs pos="90000">
                      <a:schemeClr val="accent1"/>
                    </a:gs>
                  </a:gsLst>
                  <a:lin ang="4200000" scaled="0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9B0F8D32-7A3B-425C-E046-FAC805AB7BEE}"/>
                  </a:ext>
                </a:extLst>
              </p:cNvPr>
              <p:cNvSpPr txBox="1"/>
              <p:nvPr/>
            </p:nvSpPr>
            <p:spPr>
              <a:xfrm>
                <a:off x="8429625" y="1557308"/>
                <a:ext cx="2924175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/>
                <a:r>
                  <a:rPr lang="zh-CN" altLang="en-US" sz="2000" b="1" kern="100" dirty="0">
                    <a:solidFill>
                      <a:schemeClr val="accent1"/>
                    </a:solidFill>
                    <a:effectLst/>
                    <a:cs typeface="Times New Roman" panose="02020603050405020304" pitchFamily="18" charset="0"/>
                  </a:rPr>
                  <a:t>操作步骤</a:t>
                </a:r>
                <a:endParaRPr lang="zh-CN" altLang="en-US" sz="2000" b="1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9DAEDB-CD96-5F29-5100-D4237D34DF32}"/>
              </a:ext>
            </a:extLst>
          </p:cNvPr>
          <p:cNvGrpSpPr/>
          <p:nvPr/>
        </p:nvGrpSpPr>
        <p:grpSpPr>
          <a:xfrm>
            <a:off x="8004517" y="4813822"/>
            <a:ext cx="2373835" cy="503551"/>
            <a:chOff x="6985000" y="4198815"/>
            <a:chExt cx="4580467" cy="503551"/>
          </a:xfrm>
        </p:grpSpPr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4D6C68FB-CF02-139D-43FE-9B5C049A4A09}"/>
                </a:ext>
              </a:extLst>
            </p:cNvPr>
            <p:cNvCxnSpPr>
              <a:cxnSpLocks/>
            </p:cNvCxnSpPr>
            <p:nvPr/>
          </p:nvCxnSpPr>
          <p:spPr>
            <a:xfrm>
              <a:off x="6985000" y="4573249"/>
              <a:ext cx="4533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组合 60">
              <a:extLst>
                <a:ext uri="{FF2B5EF4-FFF2-40B4-BE49-F238E27FC236}">
                  <a16:creationId xmlns:a16="http://schemas.microsoft.com/office/drawing/2014/main" id="{79D50F62-74C0-5A49-C6E3-6CCD03F5C5B1}"/>
                </a:ext>
              </a:extLst>
            </p:cNvPr>
            <p:cNvGrpSpPr/>
            <p:nvPr/>
          </p:nvGrpSpPr>
          <p:grpSpPr>
            <a:xfrm>
              <a:off x="11307233" y="4444132"/>
              <a:ext cx="258234" cy="258234"/>
              <a:chOff x="5063066" y="2190438"/>
              <a:chExt cx="258234" cy="258234"/>
            </a:xfrm>
          </p:grpSpPr>
          <p:sp>
            <p:nvSpPr>
              <p:cNvPr id="62" name="椭圆 61">
                <a:extLst>
                  <a:ext uri="{FF2B5EF4-FFF2-40B4-BE49-F238E27FC236}">
                    <a16:creationId xmlns:a16="http://schemas.microsoft.com/office/drawing/2014/main" id="{76572891-F6C9-A2BB-ABBF-3042AD08FC98}"/>
                  </a:ext>
                </a:extLst>
              </p:cNvPr>
              <p:cNvSpPr/>
              <p:nvPr/>
            </p:nvSpPr>
            <p:spPr>
              <a:xfrm>
                <a:off x="5063066" y="2190438"/>
                <a:ext cx="258234" cy="25823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>
                      <a:alpha val="10000"/>
                    </a:schemeClr>
                  </a:gs>
                  <a:gs pos="90000">
                    <a:schemeClr val="accent1">
                      <a:alpha val="31000"/>
                    </a:schemeClr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3" name="椭圆 62">
                <a:extLst>
                  <a:ext uri="{FF2B5EF4-FFF2-40B4-BE49-F238E27FC236}">
                    <a16:creationId xmlns:a16="http://schemas.microsoft.com/office/drawing/2014/main" id="{1C59D437-9F4C-B115-C71C-F8118264622F}"/>
                  </a:ext>
                </a:extLst>
              </p:cNvPr>
              <p:cNvSpPr/>
              <p:nvPr/>
            </p:nvSpPr>
            <p:spPr>
              <a:xfrm>
                <a:off x="5109633" y="2237005"/>
                <a:ext cx="165100" cy="1651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/>
                  </a:gs>
                  <a:gs pos="90000">
                    <a:schemeClr val="accent1"/>
                  </a:gs>
                </a:gsLst>
                <a:lin ang="42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A6EA1A18-D825-5164-B13F-B6E68823AB76}"/>
                </a:ext>
              </a:extLst>
            </p:cNvPr>
            <p:cNvSpPr txBox="1"/>
            <p:nvPr/>
          </p:nvSpPr>
          <p:spPr>
            <a:xfrm>
              <a:off x="8429625" y="4198815"/>
              <a:ext cx="292417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zh-CN" altLang="en-US" sz="2000" b="1" kern="100" dirty="0">
                  <a:solidFill>
                    <a:schemeClr val="accent1"/>
                  </a:solidFill>
                  <a:effectLst/>
                  <a:cs typeface="Times New Roman" panose="02020603050405020304" pitchFamily="18" charset="0"/>
                </a:rPr>
                <a:t>心得体会 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010769BF-9A91-A81A-1ACB-4B151E3F1B7D}"/>
              </a:ext>
            </a:extLst>
          </p:cNvPr>
          <p:cNvGrpSpPr/>
          <p:nvPr/>
        </p:nvGrpSpPr>
        <p:grpSpPr>
          <a:xfrm>
            <a:off x="4193538" y="2151604"/>
            <a:ext cx="3878472" cy="4361522"/>
            <a:chOff x="4156764" y="1546693"/>
            <a:chExt cx="3878472" cy="4361522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E5084D7C-EA9B-A0F9-187D-5B0318FD68E6}"/>
                </a:ext>
              </a:extLst>
            </p:cNvPr>
            <p:cNvSpPr/>
            <p:nvPr/>
          </p:nvSpPr>
          <p:spPr>
            <a:xfrm>
              <a:off x="4156764" y="5282406"/>
              <a:ext cx="3878472" cy="625809"/>
            </a:xfrm>
            <a:prstGeom prst="ellipse">
              <a:avLst/>
            </a:prstGeom>
            <a:solidFill>
              <a:schemeClr val="accent1">
                <a:alpha val="18000"/>
              </a:schemeClr>
            </a:solidFill>
            <a:ln>
              <a:noFill/>
            </a:ln>
            <a:effectLst>
              <a:softEdge rad="203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95A4D3F-B54C-1BD9-F035-76FF9532CB15}"/>
                </a:ext>
              </a:extLst>
            </p:cNvPr>
            <p:cNvGrpSpPr/>
            <p:nvPr/>
          </p:nvGrpSpPr>
          <p:grpSpPr>
            <a:xfrm>
              <a:off x="4417899" y="1546693"/>
              <a:ext cx="3356201" cy="3423705"/>
              <a:chOff x="4427784" y="1343729"/>
              <a:chExt cx="3356201" cy="3423705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BDBE5574-072A-DEB3-1F85-8D4F66A2683D}"/>
                  </a:ext>
                </a:extLst>
              </p:cNvPr>
              <p:cNvSpPr/>
              <p:nvPr/>
            </p:nvSpPr>
            <p:spPr>
              <a:xfrm>
                <a:off x="4500401" y="1553708"/>
                <a:ext cx="3213726" cy="3213726"/>
              </a:xfrm>
              <a:prstGeom prst="ellipse">
                <a:avLst/>
              </a:prstGeom>
              <a:noFill/>
              <a:ln w="222250">
                <a:gradFill>
                  <a:gsLst>
                    <a:gs pos="0">
                      <a:schemeClr val="accent2"/>
                    </a:gs>
                    <a:gs pos="64000">
                      <a:schemeClr val="accent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6" name="图片 5">
                <a:extLst>
                  <a:ext uri="{FF2B5EF4-FFF2-40B4-BE49-F238E27FC236}">
                    <a16:creationId xmlns:a16="http://schemas.microsoft.com/office/drawing/2014/main" id="{E7628BB3-3D6C-D83A-F3B7-61961222D4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27784" y="1343729"/>
                <a:ext cx="3356201" cy="335620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82383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A4BBA95-461C-47D5-8DF3-C74B89B91E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4281" y="1314713"/>
            <a:ext cx="5016413" cy="2096702"/>
          </a:xfrm>
        </p:spPr>
        <p:txBody>
          <a:bodyPr>
            <a:normAutofit/>
          </a:bodyPr>
          <a:lstStyle/>
          <a:p>
            <a:b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</a:br>
            <a:r>
              <a:rPr lang="zh-CN" altLang="en-US" sz="6000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小       结</a:t>
            </a:r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D857DE58-EE52-41CD-9ADC-24C2B0C895F7}"/>
              </a:ext>
            </a:extLst>
          </p:cNvPr>
          <p:cNvCxnSpPr>
            <a:cxnSpLocks/>
          </p:cNvCxnSpPr>
          <p:nvPr/>
        </p:nvCxnSpPr>
        <p:spPr>
          <a:xfrm flipV="1">
            <a:off x="11408702" y="5639632"/>
            <a:ext cx="0" cy="5864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20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ormal&quot;,&quot;Name&quot;:&quot;正常&quot;,&quot;Kind&quot;:&quot;System&quot;,&quot;OldGuidesSetting&quot;:{&quot;HeaderHeight&quot;:15.0,&quot;FooterHeight&quot;:9.0,&quot;SideMargin&quot;:5.5,&quot;TopMargin&quot;:0.0,&quot;BottomMargin&quot;:0.0,&quot;IntervalMargin&quot;:1.5}}"/>
  <p:tag name="ISLIDE.THEME" val="#7821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OfficePLUS">
  <a:themeElements>
    <a:clrScheme name="杜子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757E5"/>
      </a:accent1>
      <a:accent2>
        <a:srgbClr val="9191EE"/>
      </a:accent2>
      <a:accent3>
        <a:srgbClr val="FCBE49"/>
      </a:accent3>
      <a:accent4>
        <a:srgbClr val="FDCB67"/>
      </a:accent4>
      <a:accent5>
        <a:srgbClr val="000000"/>
      </a:accent5>
      <a:accent6>
        <a:srgbClr val="000000"/>
      </a:accent6>
      <a:hlink>
        <a:srgbClr val="0563C1"/>
      </a:hlink>
      <a:folHlink>
        <a:srgbClr val="5757E5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3"/>
            </a:gs>
            <a:gs pos="90000">
              <a:schemeClr val="accent4"/>
            </a:gs>
          </a:gsLst>
          <a:lin ang="4200000" scaled="0"/>
          <a:tileRect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Default.potx" id="{1D9758C4-BF53-48D5-9F51-21F468A6C710}" vid="{F0E1EFAF-5478-48F0-8152-DA9350739AF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97934b4b-eba6-486d-bfc1-4b8e3fe39092" xsi:nil="true"/>
    <_ip_UnifiedCompliancePolicyProperties xmlns="http://schemas.microsoft.com/sharepoint/v3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8" ma:contentTypeDescription="Create a new document." ma:contentTypeScope="" ma:versionID="0d59cf00a4d835e37b3b9e346621b80b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335955662e4e5a197806bea76ed4582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651796-62F7-4EA2-B7CD-81D94A31E17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97934b4b-eba6-486d-bfc1-4b8e3fe39092"/>
    <ds:schemaRef ds:uri="0a5c0dea-e5d7-4228-9256-3793bb42faa5"/>
  </ds:schemaRefs>
</ds:datastoreItem>
</file>

<file path=customXml/itemProps2.xml><?xml version="1.0" encoding="utf-8"?>
<ds:datastoreItem xmlns:ds="http://schemas.openxmlformats.org/officeDocument/2006/customXml" ds:itemID="{1C1EE89C-1DEA-443C-A603-E56386F10B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0F7E0A-3024-44C5-8C98-2ED08CDA06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esentationDefault</Template>
  <TotalTime>3036</TotalTime>
  <Words>439</Words>
  <Application>Microsoft Office PowerPoint</Application>
  <PresentationFormat>宽屏</PresentationFormat>
  <Paragraphs>79</Paragraphs>
  <Slides>1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等线</vt:lpstr>
      <vt:lpstr>宋体</vt:lpstr>
      <vt:lpstr>微软雅黑</vt:lpstr>
      <vt:lpstr>微软雅黑 Light</vt:lpstr>
      <vt:lpstr>Arial</vt:lpstr>
      <vt:lpstr>Times New Roman</vt:lpstr>
      <vt:lpstr>OfficePLUS</vt:lpstr>
      <vt:lpstr>think-cell Slide</vt:lpstr>
      <vt:lpstr>C2C电子商务平台电子支付准备</vt:lpstr>
      <vt:lpstr>安全教育</vt:lpstr>
      <vt:lpstr>C2C电子商务平台电子支付准备</vt:lpstr>
      <vt:lpstr>C2C电子商务平台电子支付准备</vt:lpstr>
      <vt:lpstr>任务实施</vt:lpstr>
      <vt:lpstr>任务实施</vt:lpstr>
      <vt:lpstr>C2C电子商务平台电子支付准备</vt:lpstr>
      <vt:lpstr>汇报内容</vt:lpstr>
      <vt:lpstr> 小       结</vt:lpstr>
      <vt:lpstr>C2C电子商务平台电子支付准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icePLUS PowerPoint  Standard Template</dc:title>
  <dc:creator>王秋丹</dc:creator>
  <cp:lastModifiedBy>王 秋丹</cp:lastModifiedBy>
  <cp:revision>954</cp:revision>
  <dcterms:created xsi:type="dcterms:W3CDTF">2021-10-26T10:37:55Z</dcterms:created>
  <dcterms:modified xsi:type="dcterms:W3CDTF">2023-07-17T07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443A8EF62DE444B1FF07917E22EF72</vt:lpwstr>
  </property>
</Properties>
</file>